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5.xml" ContentType="application/vnd.openxmlformats-officedocument.them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6.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7.xml" ContentType="application/vnd.openxmlformats-officedocument.them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8.xml" ContentType="application/vnd.openxmlformats-officedocument.them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9.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10.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1.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12.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3.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4.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5.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6.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7.xml" ContentType="application/vnd.openxmlformats-officedocument.them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8.xml" ContentType="application/vnd.openxmlformats-officedocument.them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heme/theme19.xml" ContentType="application/vnd.openxmlformats-officedocument.theme+xml"/>
  <Override PartName="/ppt/theme/theme20.xml" ContentType="application/vnd.openxmlformats-officedocument.theme+xml"/>
  <Override PartName="/ppt/tags/tag191.xml" ContentType="application/vnd.openxmlformats-officedocument.presentationml.tags+xml"/>
  <Override PartName="/ppt/tags/tag192.xml" ContentType="application/vnd.openxmlformats-officedocument.presentationml.tags+xml"/>
  <Override PartName="/ppt/notesSlides/notesSlide1.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2.xml" ContentType="application/vnd.openxmlformats-officedocument.presentationml.notesSlide+xml"/>
  <Override PartName="/ppt/tags/tag222.xml" ContentType="application/vnd.openxmlformats-officedocument.presentationml.tags+xml"/>
  <Override PartName="/ppt/notesSlides/notesSlide3.xml" ContentType="application/vnd.openxmlformats-officedocument.presentationml.notesSlide+xml"/>
  <Override PartName="/ppt/tags/tag223.xml" ContentType="application/vnd.openxmlformats-officedocument.presentationml.tags+xml"/>
  <Override PartName="/ppt/notesSlides/notesSlide4.xml" ContentType="application/vnd.openxmlformats-officedocument.presentationml.notesSlide+xml"/>
  <Override PartName="/ppt/tags/tag22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25.xml" ContentType="application/vnd.openxmlformats-officedocument.presentationml.tags+xml"/>
  <Override PartName="/ppt/tags/tag226.xml" ContentType="application/vnd.openxmlformats-officedocument.presentationml.tags+xml"/>
  <Override PartName="/ppt/notesSlides/notesSlide7.xml" ContentType="application/vnd.openxmlformats-officedocument.presentationml.notesSlide+xml"/>
  <Override PartName="/ppt/media/image15.jpg" ContentType="image/jpg"/>
  <Override PartName="/ppt/tags/tag227.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6" r:id="rId4"/>
    <p:sldMasterId id="2147483919" r:id="rId5"/>
    <p:sldMasterId id="2147483803" r:id="rId6"/>
    <p:sldMasterId id="2147483797" r:id="rId7"/>
    <p:sldMasterId id="2147483726" r:id="rId8"/>
    <p:sldMasterId id="2147483809" r:id="rId9"/>
    <p:sldMasterId id="2147483815" r:id="rId10"/>
    <p:sldMasterId id="2147483821" r:id="rId11"/>
    <p:sldMasterId id="2147483845" r:id="rId12"/>
    <p:sldMasterId id="2147483827" r:id="rId13"/>
    <p:sldMasterId id="2147483882" r:id="rId14"/>
    <p:sldMasterId id="2147483839" r:id="rId15"/>
    <p:sldMasterId id="2147483969" r:id="rId16"/>
    <p:sldMasterId id="2147483981" r:id="rId17"/>
    <p:sldMasterId id="2147483995" r:id="rId18"/>
    <p:sldMasterId id="2147484000" r:id="rId19"/>
    <p:sldMasterId id="2147484008" r:id="rId20"/>
    <p:sldMasterId id="2147484019" r:id="rId21"/>
  </p:sldMasterIdLst>
  <p:notesMasterIdLst>
    <p:notesMasterId r:id="rId30"/>
  </p:notesMasterIdLst>
  <p:handoutMasterIdLst>
    <p:handoutMasterId r:id="rId31"/>
  </p:handoutMasterIdLst>
  <p:sldIdLst>
    <p:sldId id="259" r:id="rId22"/>
    <p:sldId id="345" r:id="rId23"/>
    <p:sldId id="359" r:id="rId24"/>
    <p:sldId id="360" r:id="rId25"/>
    <p:sldId id="361" r:id="rId26"/>
    <p:sldId id="364" r:id="rId27"/>
    <p:sldId id="362" r:id="rId28"/>
    <p:sldId id="363" r:id="rId29"/>
  </p:sldIdLst>
  <p:sldSz cx="12192000" cy="6858000"/>
  <p:notesSz cx="6797675" cy="9926638"/>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663">
          <p15:clr>
            <a:srgbClr val="A4A3A4"/>
          </p15:clr>
        </p15:guide>
        <p15:guide id="4" orient="horz" pos="4065">
          <p15:clr>
            <a:srgbClr val="A4A3A4"/>
          </p15:clr>
        </p15:guide>
        <p15:guide id="5" pos="166">
          <p15:clr>
            <a:srgbClr val="A4A3A4"/>
          </p15:clr>
        </p15:guide>
        <p15:guide id="6" pos="7514">
          <p15:clr>
            <a:srgbClr val="A4A3A4"/>
          </p15:clr>
        </p15:guide>
        <p15:guide id="10" pos="3931">
          <p15:clr>
            <a:srgbClr val="A4A3A4"/>
          </p15:clr>
        </p15:guide>
        <p15:guide id="11" pos="7378">
          <p15:clr>
            <a:srgbClr val="A4A3A4"/>
          </p15:clr>
        </p15:guide>
        <p15:guide id="12" pos="3613">
          <p15:clr>
            <a:srgbClr val="A4A3A4"/>
          </p15:clr>
        </p15:guide>
        <p15:guide id="13" pos="2366">
          <p15:clr>
            <a:srgbClr val="A4A3A4"/>
          </p15:clr>
        </p15:guide>
        <p15:guide id="14" pos="2683">
          <p15:clr>
            <a:srgbClr val="A4A3A4"/>
          </p15:clr>
        </p15:guide>
        <p15:guide id="15" pos="2479" userDrawn="1">
          <p15:clr>
            <a:srgbClr val="A4A3A4"/>
          </p15:clr>
        </p15:guide>
        <p15:guide id="16" pos="5019">
          <p15:clr>
            <a:srgbClr val="A4A3A4"/>
          </p15:clr>
        </p15:guide>
        <p15:guide id="17" pos="4861">
          <p15:clr>
            <a:srgbClr val="A4A3A4"/>
          </p15:clr>
        </p15:guide>
        <p15:guide id="18" pos="5178">
          <p15:clr>
            <a:srgbClr val="A4A3A4"/>
          </p15:clr>
        </p15:guide>
        <p15:guide id="19" pos="3772">
          <p15:clr>
            <a:srgbClr val="A4A3A4"/>
          </p15:clr>
        </p15:guide>
        <p15:guide id="20" pos="5654">
          <p15:clr>
            <a:srgbClr val="A4A3A4"/>
          </p15:clr>
        </p15:guide>
        <p15:guide id="21" pos="5496">
          <p15:clr>
            <a:srgbClr val="A4A3A4"/>
          </p15:clr>
        </p15:guide>
        <p15:guide id="22" pos="5813">
          <p15:clr>
            <a:srgbClr val="A4A3A4"/>
          </p15:clr>
        </p15:guide>
        <p15:guide id="23" pos="1890">
          <p15:clr>
            <a:srgbClr val="A4A3A4"/>
          </p15:clr>
        </p15:guide>
        <p15:guide id="24" pos="1731">
          <p15:clr>
            <a:srgbClr val="A4A3A4"/>
          </p15:clr>
        </p15:guide>
        <p15:guide id="25" pos="2071" userDrawn="1">
          <p15:clr>
            <a:srgbClr val="A4A3A4"/>
          </p15:clr>
        </p15:guide>
        <p15:guide id="27" orient="horz" pos="482">
          <p15:clr>
            <a:srgbClr val="A4A3A4"/>
          </p15:clr>
        </p15:guide>
        <p15:guide id="28" orient="horz" pos="4320" userDrawn="1">
          <p15:clr>
            <a:srgbClr val="A4A3A4"/>
          </p15:clr>
        </p15:guide>
        <p15:guide id="29">
          <p15:clr>
            <a:srgbClr val="A4A3A4"/>
          </p15:clr>
        </p15:guide>
        <p15:guide id="30" orient="horz" pos="572">
          <p15:clr>
            <a:srgbClr val="A4A3A4"/>
          </p15:clr>
        </p15:guide>
        <p15:guide id="31" orient="horz" pos="935" userDrawn="1">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icrosoft Office User" initials="MOU" lastIdx="24" clrIdx="6">
    <p:extLst/>
  </p:cmAuthor>
  <p:cmAuthor id="1" name="ariana.reinecke" initials="a" lastIdx="43" clrIdx="0">
    <p:extLst/>
  </p:cmAuthor>
  <p:cmAuthor id="8" name="julia.maerz" initials="j" lastIdx="4" clrIdx="7"/>
  <p:cmAuthor id="2" name="Sabine.naumann" initials="S" lastIdx="33" clrIdx="1"/>
  <p:cmAuthor id="9" name="stefanie.hauck" initials="s" lastIdx="6" clrIdx="8"/>
  <p:cmAuthor id="3" name="Microsoft Office-Anwender" initials="Office" lastIdx="1" clrIdx="2">
    <p:extLst/>
  </p:cmAuthor>
  <p:cmAuthor id="10" name="Peter Backeberg" initials="PB" lastIdx="1" clrIdx="9">
    <p:extLst/>
  </p:cmAuthor>
  <p:cmAuthor id="4" name="Microsoft Office-Anwender" initials="Office [2]" lastIdx="1" clrIdx="3">
    <p:extLst/>
  </p:cmAuthor>
  <p:cmAuthor id="5" name="sabine.naumann" initials="s" lastIdx="22" clrIdx="4">
    <p:extLst/>
  </p:cmAuthor>
  <p:cmAuthor id="6" name="julia.otto" initials="j" lastIdx="25" clrIdx="5"/>
</p:cmAuthorLst>
</file>

<file path=ppt/presProps.xml><?xml version="1.0" encoding="utf-8"?>
<p:presentationPr xmlns:a="http://schemas.openxmlformats.org/drawingml/2006/main" xmlns:r="http://schemas.openxmlformats.org/officeDocument/2006/relationships" xmlns:p="http://schemas.openxmlformats.org/presentationml/2006/main">
  <p:prnPr clrMode="bw"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18" autoAdjust="0"/>
    <p:restoredTop sz="96272" autoAdjust="0"/>
  </p:normalViewPr>
  <p:slideViewPr>
    <p:cSldViewPr snapToGrid="0" snapToObjects="1" showGuides="1">
      <p:cViewPr varScale="1">
        <p:scale>
          <a:sx n="85" d="100"/>
          <a:sy n="85" d="100"/>
        </p:scale>
        <p:origin x="1224" y="184"/>
      </p:cViewPr>
      <p:guideLst>
        <p:guide orient="horz" pos="663"/>
        <p:guide orient="horz" pos="4065"/>
        <p:guide pos="166"/>
        <p:guide pos="7514"/>
        <p:guide pos="3931"/>
        <p:guide pos="7378"/>
        <p:guide pos="3613"/>
        <p:guide pos="2366"/>
        <p:guide pos="2683"/>
        <p:guide pos="2479"/>
        <p:guide pos="5019"/>
        <p:guide pos="4861"/>
        <p:guide pos="5178"/>
        <p:guide pos="3772"/>
        <p:guide pos="5654"/>
        <p:guide pos="5496"/>
        <p:guide pos="5813"/>
        <p:guide pos="1890"/>
        <p:guide pos="1731"/>
        <p:guide pos="2071"/>
        <p:guide orient="horz" pos="482"/>
        <p:guide orient="horz" pos="4320"/>
        <p:guide/>
        <p:guide orient="horz" pos="572"/>
        <p:guide orient="horz" pos="93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78" d="100"/>
          <a:sy n="78" d="100"/>
        </p:scale>
        <p:origin x="3978" y="108"/>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21" Type="http://schemas.openxmlformats.org/officeDocument/2006/relationships/slideMaster" Target="slideMasters/slideMaster18.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dirty="0">
              <a:latin typeface="Arial" panose="020B0604020202020204" pitchFamily="34" charset="0"/>
            </a:endParaRPr>
          </a:p>
        </p:txBody>
      </p:sp>
      <p:sp>
        <p:nvSpPr>
          <p:cNvPr id="3" name="Datumsplatzhalt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6427875B-CA47-FA49-97C5-D3B545E6FF0D}" type="datetime1">
              <a:rPr lang="de-DE" smtClean="0">
                <a:latin typeface="Arial" panose="020B0604020202020204" pitchFamily="34" charset="0"/>
              </a:rPr>
              <a:t>02.02.20</a:t>
            </a:fld>
            <a:endParaRPr lang="de-DE" dirty="0">
              <a:latin typeface="Arial" panose="020B0604020202020204" pitchFamily="34" charset="0"/>
            </a:endParaRPr>
          </a:p>
        </p:txBody>
      </p:sp>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dirty="0">
              <a:latin typeface="Arial" panose="020B0604020202020204" pitchFamily="34" charset="0"/>
            </a:endParaRPr>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DDC18DFC-9FCA-D944-A230-740BE9B04ED8}" type="slidenum">
              <a:rPr lang="de-DE" smtClean="0">
                <a:latin typeface="Arial" panose="020B0604020202020204" pitchFamily="34" charset="0"/>
              </a:rPr>
              <a:t>‹#›</a:t>
            </a:fld>
            <a:endParaRPr lang="de-DE" dirty="0">
              <a:latin typeface="Arial" panose="020B0604020202020204" pitchFamily="34" charset="0"/>
            </a:endParaRPr>
          </a:p>
        </p:txBody>
      </p:sp>
    </p:spTree>
    <p:extLst>
      <p:ext uri="{BB962C8B-B14F-4D97-AF65-F5344CB8AC3E}">
        <p14:creationId xmlns:p14="http://schemas.microsoft.com/office/powerpoint/2010/main" val="347394337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sym typeface="Arial" panose="020B0604020202020204" pitchFamily="34" charset="0"/>
              </a:defRPr>
            </a:lvl1pPr>
          </a:lstStyle>
          <a:p>
            <a:fld id="{46E04166-0329-2A4F-ABDD-FC90F497E6CB}" type="datetime1">
              <a:rPr lang="de-DE" smtClean="0"/>
              <a:pPr/>
              <a:t>02.02.20</a:t>
            </a:fld>
            <a:endParaRPr lang="en-US" dirty="0"/>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dirty="0">
              <a:latin typeface="Arial"/>
            </a:endParaRPr>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sym typeface="Arial" panose="020B0604020202020204" pitchFamily="34" charset="0"/>
              </a:defRPr>
            </a:lvl1pPr>
          </a:lstStyle>
          <a:p>
            <a:endParaRPr lang="en-US"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sym typeface="Arial" panose="020B0604020202020204" pitchFamily="34" charset="0"/>
              </a:defRPr>
            </a:lvl1pPr>
          </a:lstStyle>
          <a:p>
            <a:fld id="{8B06FBF5-0168-4384-9FE9-2931CD60313C}" type="slidenum">
              <a:rPr lang="en-US" smtClean="0"/>
              <a:pPr/>
              <a:t>‹#›</a:t>
            </a:fld>
            <a:endParaRPr lang="en-US" dirty="0"/>
          </a:p>
        </p:txBody>
      </p:sp>
    </p:spTree>
    <p:extLst>
      <p:ext uri="{BB962C8B-B14F-4D97-AF65-F5344CB8AC3E}">
        <p14:creationId xmlns:p14="http://schemas.microsoft.com/office/powerpoint/2010/main" val="269193973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B06FBF5-0168-4384-9FE9-2931CD60313C}" type="slidenum">
              <a:rPr lang="en-US" smtClean="0"/>
              <a:pPr/>
              <a:t>1</a:t>
            </a:fld>
            <a:endParaRPr lang="en-US" dirty="0"/>
          </a:p>
        </p:txBody>
      </p:sp>
    </p:spTree>
    <p:extLst>
      <p:ext uri="{BB962C8B-B14F-4D97-AF65-F5344CB8AC3E}">
        <p14:creationId xmlns:p14="http://schemas.microsoft.com/office/powerpoint/2010/main" val="27396210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Folienbildplatzhalter 1"/>
          <p:cNvSpPr>
            <a:spLocks noGrp="1" noRot="1" noChangeAspect="1" noTextEdit="1"/>
          </p:cNvSpPr>
          <p:nvPr>
            <p:ph type="sldImg"/>
          </p:nvPr>
        </p:nvSpPr>
        <p:spPr>
          <a:noFill/>
          <a:ln>
            <a:solidFill>
              <a:srgbClr val="000000"/>
            </a:solidFill>
            <a:miter lim="800000"/>
            <a:headEnd/>
            <a:tailEnd/>
          </a:ln>
        </p:spPr>
      </p:sp>
      <p:sp>
        <p:nvSpPr>
          <p:cNvPr id="28675" name="Notizenplatzhalter 2"/>
          <p:cNvSpPr>
            <a:spLocks noGrp="1"/>
          </p:cNvSpPr>
          <p:nvPr>
            <p:ph type="body" idx="1"/>
          </p:nvPr>
        </p:nvSpPr>
        <p:spPr>
          <a:noFill/>
        </p:spPr>
        <p:txBody>
          <a:bodyPr wrap="square" numCol="1" anchor="t" anchorCtr="0" compatLnSpc="1">
            <a:prstTxWarp prst="textNoShape">
              <a:avLst/>
            </a:prstTxWarp>
          </a:bodyPr>
          <a:lstStyle/>
          <a:p>
            <a:pPr eaLnBrk="1" hangingPunct="1"/>
            <a:endParaRPr dirty="0">
              <a:latin typeface="Arial" charset="0"/>
              <a:cs typeface="Arial" charset="0"/>
            </a:endParaRPr>
          </a:p>
        </p:txBody>
      </p:sp>
      <p:sp>
        <p:nvSpPr>
          <p:cNvPr id="28676" name="Foliennummernplatzhalter 3"/>
          <p:cNvSpPr>
            <a:spLocks noGrp="1"/>
          </p:cNvSpPr>
          <p:nvPr>
            <p:ph type="sldNum" sz="quarter" idx="5"/>
          </p:nvPr>
        </p:nvSpPr>
        <p:spPr>
          <a:noFill/>
          <a:ln>
            <a:miter lim="800000"/>
            <a:headEnd/>
            <a:tailEnd/>
          </a:ln>
        </p:spPr>
        <p:txBody>
          <a:bodyPr wrap="square" numCol="1" anchorCtr="0" compatLnSpc="1">
            <a:prstTxWarp prst="textNoShape">
              <a:avLst/>
            </a:prstTxWarp>
          </a:bodyPr>
          <a:lstStyle/>
          <a:p>
            <a:pPr fontAlgn="base">
              <a:spcBef>
                <a:spcPct val="0"/>
              </a:spcBef>
              <a:spcAft>
                <a:spcPct val="0"/>
              </a:spcAft>
            </a:pPr>
            <a:fld id="{25179605-F149-45B5-9A03-E0D6837599E2}" type="slidenum">
              <a:rPr lang="de-DE" smtClean="0">
                <a:latin typeface="Arial" charset="0"/>
                <a:cs typeface="Arial" charset="0"/>
              </a:rPr>
              <a:pPr fontAlgn="base">
                <a:spcBef>
                  <a:spcPct val="0"/>
                </a:spcBef>
                <a:spcAft>
                  <a:spcPct val="0"/>
                </a:spcAft>
              </a:pPr>
              <a:t>2</a:t>
            </a:fld>
            <a:endParaRPr lang="de-DE" dirty="0">
              <a:latin typeface="Arial" charset="0"/>
              <a:cs typeface="Arial" charset="0"/>
            </a:endParaRPr>
          </a:p>
        </p:txBody>
      </p:sp>
      <p:sp>
        <p:nvSpPr>
          <p:cNvPr id="2" name="Datumsplatzhalter 1"/>
          <p:cNvSpPr>
            <a:spLocks noGrp="1"/>
          </p:cNvSpPr>
          <p:nvPr>
            <p:ph type="dt" idx="10"/>
          </p:nvPr>
        </p:nvSpPr>
        <p:spPr/>
        <p:txBody>
          <a:bodyPr/>
          <a:lstStyle/>
          <a:p>
            <a:r>
              <a:rPr lang="de-DE"/>
              <a:t>17.08.2018</a:t>
            </a:r>
          </a:p>
        </p:txBody>
      </p:sp>
    </p:spTree>
    <p:extLst>
      <p:ext uri="{BB962C8B-B14F-4D97-AF65-F5344CB8AC3E}">
        <p14:creationId xmlns:p14="http://schemas.microsoft.com/office/powerpoint/2010/main" val="1865973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06FBF5-0168-4384-9FE9-2931CD60313C}"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811259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06FBF5-0168-4384-9FE9-2931CD60313C}"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24034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06FBF5-0168-4384-9FE9-2931CD60313C}"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214591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63E907-EE71-4AAC-8037-F5B8FE83852F}" type="slidenum">
              <a:rPr kumimoji="0" lang="de-DE"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1203" name="Rectangle 2"/>
          <p:cNvSpPr>
            <a:spLocks noGrp="1" noRot="1" noChangeAspect="1" noChangeArrowheads="1" noTextEdit="1"/>
          </p:cNvSpPr>
          <p:nvPr>
            <p:ph type="sldImg"/>
          </p:nvPr>
        </p:nvSpPr>
        <p:spPr>
          <a:ln/>
        </p:spPr>
      </p:sp>
      <p:sp>
        <p:nvSpPr>
          <p:cNvPr id="51204" name="Rectangle 3"/>
          <p:cNvSpPr>
            <a:spLocks noGrp="1" noChangeArrowheads="1"/>
          </p:cNvSpPr>
          <p:nvPr>
            <p:ph type="body" idx="1"/>
          </p:nvPr>
        </p:nvSpPr>
        <p:spPr>
          <a:xfrm>
            <a:off x="709932" y="4859666"/>
            <a:ext cx="5679440" cy="4607352"/>
          </a:xfrm>
          <a:noFill/>
          <a:ln/>
        </p:spPr>
        <p:txBody>
          <a:bodyPr/>
          <a:lstStyle/>
          <a:p>
            <a:pPr eaLnBrk="1" hangingPunct="1"/>
            <a:r>
              <a:rPr lang="de-DE" altLang="de-DE" sz="1200" dirty="0">
                <a:solidFill>
                  <a:srgbClr val="FFFFFF"/>
                </a:solidFill>
              </a:rPr>
              <a:t>Berechnungsgrundlage</a:t>
            </a:r>
          </a:p>
          <a:p>
            <a:pPr rtl="0" eaLnBrk="0" fontAlgn="base" latinLnBrk="0" hangingPunct="0"/>
            <a:r>
              <a:rPr lang="en-GB" sz="1200" b="0" i="0" u="none" strike="noStrike" kern="1200" baseline="0" dirty="0">
                <a:solidFill>
                  <a:schemeClr val="tx1"/>
                </a:solidFill>
                <a:effectLst/>
                <a:latin typeface="+mn-lt"/>
                <a:ea typeface="+mn-ea"/>
                <a:cs typeface="+mn-cs"/>
              </a:rPr>
              <a:t>1. </a:t>
            </a:r>
            <a:r>
              <a:rPr lang="en-GB" sz="1200" b="0" i="0" u="none" strike="noStrike" kern="1200" baseline="0" dirty="0" err="1">
                <a:solidFill>
                  <a:schemeClr val="tx1"/>
                </a:solidFill>
                <a:effectLst/>
                <a:latin typeface="+mn-lt"/>
                <a:ea typeface="+mn-ea"/>
                <a:cs typeface="+mn-cs"/>
              </a:rPr>
              <a:t>Steuersatz</a:t>
            </a:r>
            <a:r>
              <a:rPr lang="en-GB" sz="1200" b="0" i="0" u="none" strike="noStrike" kern="1200" baseline="0" dirty="0">
                <a:solidFill>
                  <a:schemeClr val="tx1"/>
                </a:solidFill>
                <a:effectLst/>
                <a:latin typeface="+mn-lt"/>
                <a:ea typeface="+mn-ea"/>
                <a:cs typeface="+mn-cs"/>
              </a:rPr>
              <a:t> </a:t>
            </a:r>
            <a:r>
              <a:rPr lang="en-GB" sz="1200" b="0" i="0" u="none" strike="noStrike" kern="1200" baseline="0" dirty="0" err="1">
                <a:solidFill>
                  <a:schemeClr val="tx1"/>
                </a:solidFill>
                <a:effectLst/>
                <a:latin typeface="+mn-lt"/>
                <a:ea typeface="+mn-ea"/>
                <a:cs typeface="+mn-cs"/>
              </a:rPr>
              <a:t>indische</a:t>
            </a:r>
            <a:r>
              <a:rPr lang="en-GB" sz="1200" b="0" i="0" u="none" strike="noStrike" kern="1200" baseline="0" dirty="0">
                <a:solidFill>
                  <a:schemeClr val="tx1"/>
                </a:solidFill>
                <a:effectLst/>
                <a:latin typeface="+mn-lt"/>
                <a:ea typeface="+mn-ea"/>
                <a:cs typeface="+mn-cs"/>
              </a:rPr>
              <a:t> </a:t>
            </a:r>
            <a:r>
              <a:rPr lang="en-GB" sz="1200" b="0" i="0" u="none" strike="noStrike" kern="1200" baseline="0" dirty="0" err="1">
                <a:solidFill>
                  <a:schemeClr val="tx1"/>
                </a:solidFill>
                <a:effectLst/>
                <a:latin typeface="+mn-lt"/>
                <a:ea typeface="+mn-ea"/>
                <a:cs typeface="+mn-cs"/>
              </a:rPr>
              <a:t>Körperschaft</a:t>
            </a:r>
            <a:endParaRPr lang="de-DE" sz="1200" b="0" i="0" u="none" strike="noStrike" kern="1200" dirty="0">
              <a:solidFill>
                <a:schemeClr val="tx1"/>
              </a:solidFill>
              <a:effectLst/>
              <a:latin typeface="+mn-lt"/>
              <a:ea typeface="+mn-ea"/>
              <a:cs typeface="+mn-cs"/>
            </a:endParaRPr>
          </a:p>
          <a:p>
            <a:pPr rtl="0" eaLnBrk="0" fontAlgn="base" latinLnBrk="0" hangingPunct="0"/>
            <a:r>
              <a:rPr lang="en-GB" sz="1200" b="0" i="0" u="none" strike="noStrike" kern="1200" baseline="0" dirty="0">
                <a:solidFill>
                  <a:schemeClr val="tx1"/>
                </a:solidFill>
                <a:effectLst/>
                <a:latin typeface="+mn-lt"/>
                <a:ea typeface="+mn-ea"/>
                <a:cs typeface="+mn-cs"/>
              </a:rPr>
              <a:t>2a. </a:t>
            </a:r>
            <a:r>
              <a:rPr lang="en-GB" sz="1200" b="0" i="0" u="none" strike="noStrike" kern="1200" baseline="0" dirty="0" err="1">
                <a:solidFill>
                  <a:schemeClr val="tx1"/>
                </a:solidFill>
                <a:effectLst/>
                <a:latin typeface="+mn-lt"/>
                <a:ea typeface="+mn-ea"/>
                <a:cs typeface="+mn-cs"/>
              </a:rPr>
              <a:t>Aufschlag</a:t>
            </a:r>
            <a:r>
              <a:rPr lang="en-GB" sz="1200" b="0" i="0" u="none" strike="noStrike" kern="1200" baseline="0" dirty="0">
                <a:solidFill>
                  <a:schemeClr val="tx1"/>
                </a:solidFill>
                <a:effectLst/>
                <a:latin typeface="+mn-lt"/>
                <a:ea typeface="+mn-ea"/>
                <a:cs typeface="+mn-cs"/>
              </a:rPr>
              <a:t> auf (1)*</a:t>
            </a:r>
            <a:endParaRPr lang="de-DE" sz="1200" b="0" i="0" u="none" strike="noStrike" kern="1200" dirty="0">
              <a:solidFill>
                <a:schemeClr val="tx1"/>
              </a:solidFill>
              <a:effectLst/>
              <a:latin typeface="+mn-lt"/>
              <a:ea typeface="+mn-ea"/>
              <a:cs typeface="+mn-cs"/>
            </a:endParaRPr>
          </a:p>
          <a:p>
            <a:pPr rtl="0" eaLnBrk="0" fontAlgn="base" latinLnBrk="0" hangingPunct="0"/>
            <a:r>
              <a:rPr lang="en-GB" sz="1200" b="0" i="0" u="none" strike="noStrike" kern="1200" baseline="0" dirty="0">
                <a:solidFill>
                  <a:schemeClr val="tx1"/>
                </a:solidFill>
                <a:effectLst/>
                <a:latin typeface="+mn-lt"/>
                <a:ea typeface="+mn-ea"/>
                <a:cs typeface="+mn-cs"/>
              </a:rPr>
              <a:t>2b. </a:t>
            </a:r>
            <a:r>
              <a:rPr lang="en-GB" sz="1200" b="0" i="0" u="none" strike="noStrike" kern="1200" baseline="0" dirty="0" err="1">
                <a:solidFill>
                  <a:schemeClr val="tx1"/>
                </a:solidFill>
                <a:effectLst/>
                <a:latin typeface="+mn-lt"/>
                <a:ea typeface="+mn-ea"/>
                <a:cs typeface="+mn-cs"/>
              </a:rPr>
              <a:t>Aufschlag</a:t>
            </a:r>
            <a:r>
              <a:rPr lang="en-GB" sz="1200" b="0" i="0" u="none" strike="noStrike" kern="1200" baseline="0" dirty="0">
                <a:solidFill>
                  <a:schemeClr val="tx1"/>
                </a:solidFill>
                <a:effectLst/>
                <a:latin typeface="+mn-lt"/>
                <a:ea typeface="+mn-ea"/>
                <a:cs typeface="+mn-cs"/>
              </a:rPr>
              <a:t> auf (1)**</a:t>
            </a:r>
            <a:endParaRPr lang="de-DE" sz="1200" b="0" i="0" u="none" strike="noStrike" kern="1200" dirty="0">
              <a:solidFill>
                <a:schemeClr val="tx1"/>
              </a:solidFill>
              <a:effectLst/>
              <a:latin typeface="+mn-lt"/>
              <a:ea typeface="+mn-ea"/>
              <a:cs typeface="+mn-cs"/>
            </a:endParaRPr>
          </a:p>
          <a:p>
            <a:pPr rtl="0" eaLnBrk="0" fontAlgn="base" latinLnBrk="0" hangingPunct="0"/>
            <a:r>
              <a:rPr lang="en-GB" sz="1200" b="0" i="0" u="none" strike="noStrike" kern="1200" baseline="0" dirty="0">
                <a:solidFill>
                  <a:schemeClr val="tx1"/>
                </a:solidFill>
                <a:effectLst/>
                <a:latin typeface="+mn-lt"/>
                <a:ea typeface="+mn-ea"/>
                <a:cs typeface="+mn-cs"/>
              </a:rPr>
              <a:t>3. </a:t>
            </a:r>
            <a:r>
              <a:rPr lang="en-GB" sz="1200" b="0" i="0" u="none" strike="noStrike" kern="1200" baseline="0" dirty="0" err="1">
                <a:solidFill>
                  <a:schemeClr val="tx1"/>
                </a:solidFill>
                <a:effectLst/>
                <a:latin typeface="+mn-lt"/>
                <a:ea typeface="+mn-ea"/>
                <a:cs typeface="+mn-cs"/>
              </a:rPr>
              <a:t>Ausbildungsabgabe</a:t>
            </a:r>
            <a:r>
              <a:rPr lang="en-GB" sz="1200" b="0" i="0" u="none" strike="noStrike" kern="1200" baseline="0" dirty="0">
                <a:solidFill>
                  <a:schemeClr val="tx1"/>
                </a:solidFill>
                <a:effectLst/>
                <a:latin typeface="+mn-lt"/>
                <a:ea typeface="+mn-ea"/>
                <a:cs typeface="+mn-cs"/>
              </a:rPr>
              <a:t> auf (1) und (2) </a:t>
            </a:r>
            <a:endParaRPr lang="de-DE" sz="1200" b="0" i="0" u="none" strike="noStrike" kern="1200" dirty="0">
              <a:solidFill>
                <a:schemeClr val="tx1"/>
              </a:solidFill>
              <a:effectLst/>
              <a:latin typeface="+mn-lt"/>
              <a:ea typeface="+mn-ea"/>
              <a:cs typeface="+mn-cs"/>
            </a:endParaRPr>
          </a:p>
          <a:p>
            <a:pPr rtl="0" eaLnBrk="0" fontAlgn="base" latinLnBrk="0" hangingPunct="0"/>
            <a:r>
              <a:rPr lang="en-GB" sz="1200" b="0" i="0" u="none" strike="noStrike" kern="1200" baseline="0" dirty="0">
                <a:solidFill>
                  <a:schemeClr val="tx1"/>
                </a:solidFill>
                <a:effectLst/>
                <a:latin typeface="+mn-lt"/>
                <a:ea typeface="+mn-ea"/>
                <a:cs typeface="+mn-cs"/>
              </a:rPr>
              <a:t>4. Income Tax </a:t>
            </a:r>
            <a:r>
              <a:rPr lang="en-GB" sz="1200" b="0" i="0" u="none" strike="noStrike" kern="1200" baseline="0" dirty="0" err="1">
                <a:solidFill>
                  <a:schemeClr val="tx1"/>
                </a:solidFill>
                <a:effectLst/>
                <a:latin typeface="+mn-lt"/>
                <a:ea typeface="+mn-ea"/>
                <a:cs typeface="+mn-cs"/>
              </a:rPr>
              <a:t>gesamt</a:t>
            </a:r>
            <a:r>
              <a:rPr lang="en-GB" sz="1200" b="0" i="0" u="none" strike="noStrike" kern="1200" baseline="0" dirty="0">
                <a:solidFill>
                  <a:schemeClr val="tx1"/>
                </a:solidFill>
                <a:effectLst/>
                <a:latin typeface="+mn-lt"/>
                <a:ea typeface="+mn-ea"/>
                <a:cs typeface="+mn-cs"/>
              </a:rPr>
              <a:t>  **</a:t>
            </a:r>
            <a:endParaRPr lang="de-DE" sz="1200" b="0" i="0" u="none" strike="noStrike" kern="1200" dirty="0">
              <a:solidFill>
                <a:schemeClr val="tx1"/>
              </a:solidFill>
              <a:effectLst/>
              <a:latin typeface="+mn-lt"/>
              <a:ea typeface="+mn-ea"/>
              <a:cs typeface="+mn-cs"/>
            </a:endParaRPr>
          </a:p>
          <a:p>
            <a:pPr eaLnBrk="1" hangingPunct="1"/>
            <a:endParaRPr lang="de-DE" sz="1200" dirty="0">
              <a:solidFill>
                <a:srgbClr val="FFFFFF"/>
              </a:solidFill>
            </a:endParaRPr>
          </a:p>
          <a:p>
            <a:pPr eaLnBrk="1" hangingPunct="1"/>
            <a:endParaRPr lang="de-DE" dirty="0"/>
          </a:p>
        </p:txBody>
      </p:sp>
    </p:spTree>
    <p:extLst>
      <p:ext uri="{BB962C8B-B14F-4D97-AF65-F5344CB8AC3E}">
        <p14:creationId xmlns:p14="http://schemas.microsoft.com/office/powerpoint/2010/main" val="15852814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06FBF5-0168-4384-9FE9-2931CD60313C}"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136491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06FBF5-0168-4384-9FE9-2931CD60313C}"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6312508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0.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2.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3.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vmlDrawing" Target="../drawings/vmlDrawing113.vml"/><Relationship Id="rId6" Type="http://schemas.openxmlformats.org/officeDocument/2006/relationships/image" Target="../media/image1.emf"/><Relationship Id="rId5" Type="http://schemas.openxmlformats.org/officeDocument/2006/relationships/oleObject" Target="../embeddings/oleObject111.bin"/><Relationship Id="rId4" Type="http://schemas.openxmlformats.org/officeDocument/2006/relationships/slideMaster" Target="../slideMasters/slideMaster17.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6.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9.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0.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1.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vmlDrawing" Target="../drawings/vmlDrawing119.vml"/><Relationship Id="rId6" Type="http://schemas.openxmlformats.org/officeDocument/2006/relationships/image" Target="../media/image1.emf"/><Relationship Id="rId5" Type="http://schemas.openxmlformats.org/officeDocument/2006/relationships/oleObject" Target="../embeddings/oleObject117.bin"/><Relationship Id="rId4" Type="http://schemas.openxmlformats.org/officeDocument/2006/relationships/slideMaster" Target="../slideMasters/slideMaster18.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4.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5.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6.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77.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vmlDrawing" Target="../drawings/vmlDrawing124.vml"/><Relationship Id="rId6" Type="http://schemas.openxmlformats.org/officeDocument/2006/relationships/image" Target="../media/image1.emf"/><Relationship Id="rId5" Type="http://schemas.openxmlformats.org/officeDocument/2006/relationships/oleObject" Target="../embeddings/oleObject122.bin"/><Relationship Id="rId4" Type="http://schemas.openxmlformats.org/officeDocument/2006/relationships/slideMaster" Target="../slideMasters/slideMaster18.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vmlDrawing" Target="../drawings/vmlDrawing125.vml"/><Relationship Id="rId6" Type="http://schemas.openxmlformats.org/officeDocument/2006/relationships/image" Target="../media/image1.emf"/><Relationship Id="rId5" Type="http://schemas.openxmlformats.org/officeDocument/2006/relationships/oleObject" Target="../embeddings/oleObject123.bin"/><Relationship Id="rId4" Type="http://schemas.openxmlformats.org/officeDocument/2006/relationships/slideMaster" Target="../slideMasters/slideMaster18.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183.xml"/><Relationship Id="rId2" Type="http://schemas.openxmlformats.org/officeDocument/2006/relationships/tags" Target="../tags/tag182.xml"/><Relationship Id="rId1" Type="http://schemas.openxmlformats.org/officeDocument/2006/relationships/vmlDrawing" Target="../drawings/vmlDrawing126.vml"/><Relationship Id="rId6" Type="http://schemas.openxmlformats.org/officeDocument/2006/relationships/image" Target="../media/image1.emf"/><Relationship Id="rId5" Type="http://schemas.openxmlformats.org/officeDocument/2006/relationships/oleObject" Target="../embeddings/oleObject124.bin"/><Relationship Id="rId4" Type="http://schemas.openxmlformats.org/officeDocument/2006/relationships/slideMaster" Target="../slideMasters/slideMaster18.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185.xml"/><Relationship Id="rId2" Type="http://schemas.openxmlformats.org/officeDocument/2006/relationships/tags" Target="../tags/tag184.xml"/><Relationship Id="rId1" Type="http://schemas.openxmlformats.org/officeDocument/2006/relationships/vmlDrawing" Target="../drawings/vmlDrawing127.vml"/><Relationship Id="rId6" Type="http://schemas.openxmlformats.org/officeDocument/2006/relationships/image" Target="../media/image1.emf"/><Relationship Id="rId5" Type="http://schemas.openxmlformats.org/officeDocument/2006/relationships/oleObject" Target="../embeddings/oleObject123.bin"/><Relationship Id="rId4" Type="http://schemas.openxmlformats.org/officeDocument/2006/relationships/slideMaster" Target="../slideMasters/slideMaster18.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7.xml"/><Relationship Id="rId1" Type="http://schemas.openxmlformats.org/officeDocument/2006/relationships/tags" Target="../tags/tag18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188.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89.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90.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tags" Target="../tags/tag25.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8.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0.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0.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0.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1.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2.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3.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6.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7.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8.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9.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0.xml"/><Relationship Id="rId1" Type="http://schemas.openxmlformats.org/officeDocument/2006/relationships/vmlDrawing" Target="../drawings/vmlDrawing57.v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3.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4.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5.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6.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7.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0.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1.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2.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3.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4.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7.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8.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1.xml"/><Relationship Id="rId1" Type="http://schemas.openxmlformats.org/officeDocument/2006/relationships/vmlDrawing" Target="../drawings/vmlDrawing74.v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2.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13.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78.v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vmlDrawing" Target="../drawings/vmlDrawing79.v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Master" Target="../slideMasters/slideMaster13.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16.xml"/><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slideMaster" Target="../slideMasters/slideMaster1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17.xml"/><Relationship Id="rId1" Type="http://schemas.openxmlformats.org/officeDocument/2006/relationships/vmlDrawing" Target="../drawings/vmlDrawing83.v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18.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19.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20.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vmlDrawing" Target="../drawings/vmlDrawing85.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slideMaster" Target="../slideMasters/slideMaster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ags" Target="../tags/tag125.xml"/><Relationship Id="rId1" Type="http://schemas.openxmlformats.org/officeDocument/2006/relationships/vmlDrawing" Target="../drawings/vmlDrawing86.v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slideMaster" Target="../slideMasters/slideMaster14.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vmlDrawing" Target="../drawings/vmlDrawing87.v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slideMaster" Target="../slideMasters/slideMaster14.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30.xml"/><Relationship Id="rId2" Type="http://schemas.openxmlformats.org/officeDocument/2006/relationships/tags" Target="../tags/tag129.xml"/><Relationship Id="rId1" Type="http://schemas.openxmlformats.org/officeDocument/2006/relationships/vmlDrawing" Target="../drawings/vmlDrawing88.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14.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32.xml"/><Relationship Id="rId2" Type="http://schemas.openxmlformats.org/officeDocument/2006/relationships/tags" Target="../tags/tag131.xml"/><Relationship Id="rId1" Type="http://schemas.openxmlformats.org/officeDocument/2006/relationships/vmlDrawing" Target="../drawings/vmlDrawing89.v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slideMaster" Target="../slideMasters/slideMaster14.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slideMaster" Target="../slideMasters/slideMaster1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92.vml"/><Relationship Id="rId6" Type="http://schemas.openxmlformats.org/officeDocument/2006/relationships/image" Target="../media/image1.emf"/><Relationship Id="rId5" Type="http://schemas.openxmlformats.org/officeDocument/2006/relationships/oleObject" Target="../embeddings/oleObject90.bin"/><Relationship Id="rId4" Type="http://schemas.openxmlformats.org/officeDocument/2006/relationships/slideMaster" Target="../slideMasters/slideMaster15.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91.bin"/><Relationship Id="rId4" Type="http://schemas.openxmlformats.org/officeDocument/2006/relationships/slideMaster" Target="../slideMasters/slideMaster15.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92.bin"/><Relationship Id="rId4" Type="http://schemas.openxmlformats.org/officeDocument/2006/relationships/slideMaster" Target="../slideMasters/slideMaster15.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43.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6.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7.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8.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49.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2.emf"/><Relationship Id="rId2" Type="http://schemas.openxmlformats.org/officeDocument/2006/relationships/tags" Target="../tags/tag150.xml"/><Relationship Id="rId1" Type="http://schemas.openxmlformats.org/officeDocument/2006/relationships/vmlDrawing" Target="../drawings/vmlDrawing101.vml"/><Relationship Id="rId6" Type="http://schemas.openxmlformats.org/officeDocument/2006/relationships/image" Target="../media/image1.emf"/><Relationship Id="rId5" Type="http://schemas.openxmlformats.org/officeDocument/2006/relationships/oleObject" Target="../embeddings/oleObject99.bin"/><Relationship Id="rId4" Type="http://schemas.openxmlformats.org/officeDocument/2006/relationships/slideMaster" Target="../slideMasters/slideMaster16.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vmlDrawing" Target="../drawings/vmlDrawing102.vml"/><Relationship Id="rId6" Type="http://schemas.openxmlformats.org/officeDocument/2006/relationships/image" Target="../media/image1.emf"/><Relationship Id="rId5" Type="http://schemas.openxmlformats.org/officeDocument/2006/relationships/oleObject" Target="../embeddings/oleObject100.bin"/><Relationship Id="rId4" Type="http://schemas.openxmlformats.org/officeDocument/2006/relationships/slideMaster" Target="../slideMasters/slideMaster16.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7.xml"/><Relationship Id="rId1" Type="http://schemas.openxmlformats.org/officeDocument/2006/relationships/vmlDrawing" Target="../drawings/vmlDrawing106.vml"/><Relationship Id="rId5" Type="http://schemas.openxmlformats.org/officeDocument/2006/relationships/image" Target="../media/image1.emf"/><Relationship Id="rId4" Type="http://schemas.openxmlformats.org/officeDocument/2006/relationships/oleObject" Target="../embeddings/oleObject104.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instiegs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99636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85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11" name="Gerade Verbindung 10"/>
          <p:cNvCxnSpPr/>
          <p:nvPr userDrawn="1"/>
        </p:nvCxnSpPr>
        <p:spPr>
          <a:xfrm>
            <a:off x="3971764" y="1664804"/>
            <a:ext cx="0" cy="519319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20"/>
          <p:cNvSpPr>
            <a:spLocks noGrp="1"/>
          </p:cNvSpPr>
          <p:nvPr>
            <p:ph type="body" sz="quarter" idx="12" hasCustomPrompt="1"/>
          </p:nvPr>
        </p:nvSpPr>
        <p:spPr>
          <a:xfrm>
            <a:off x="4259263" y="5121202"/>
            <a:ext cx="7453312" cy="320088"/>
          </a:xfrm>
        </p:spPr>
        <p:txBody>
          <a:bodyPr wrap="square" anchor="b">
            <a:spAutoFit/>
          </a:bodyPr>
          <a:lstStyle>
            <a:lvl1pPr>
              <a:lnSpc>
                <a:spcPct val="130000"/>
              </a:lnSpc>
              <a:spcBef>
                <a:spcPts val="0"/>
              </a:spcBef>
              <a:defRPr sz="16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bearbeiten</a:t>
            </a:r>
          </a:p>
        </p:txBody>
      </p:sp>
      <p:sp>
        <p:nvSpPr>
          <p:cNvPr id="25" name="Textplatzhalter 20"/>
          <p:cNvSpPr>
            <a:spLocks noGrp="1"/>
          </p:cNvSpPr>
          <p:nvPr>
            <p:ph type="body" sz="quarter" idx="13" hasCustomPrompt="1"/>
          </p:nvPr>
        </p:nvSpPr>
        <p:spPr>
          <a:xfrm>
            <a:off x="4259263" y="6207115"/>
            <a:ext cx="7453312" cy="246221"/>
          </a:xfrm>
        </p:spPr>
        <p:txBody>
          <a:bodyPr wrap="square" anchor="b">
            <a:sp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Location,</a:t>
            </a:r>
          </a:p>
        </p:txBody>
      </p:sp>
      <p:pic>
        <p:nvPicPr>
          <p:cNvPr id="17"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3" name="Textplatzhalter 15"/>
          <p:cNvSpPr>
            <a:spLocks noGrp="1"/>
          </p:cNvSpPr>
          <p:nvPr>
            <p:ph type="body" sz="quarter" idx="14" hasCustomPrompt="1"/>
          </p:nvPr>
        </p:nvSpPr>
        <p:spPr>
          <a:xfrm>
            <a:off x="0" y="908720"/>
            <a:ext cx="12192794" cy="769441"/>
          </a:xfrm>
          <a:solidFill>
            <a:schemeClr val="tx2"/>
          </a:solidFill>
          <a:effectLst>
            <a:outerShdw dist="27940" dir="5400000" algn="t" rotWithShape="0">
              <a:prstClr val="black"/>
            </a:outerShdw>
          </a:effectLst>
        </p:spPr>
        <p:txBody>
          <a:bodyPr wrap="square" lIns="234000" bIns="0">
            <a:spAutoFit/>
          </a:bodyPr>
          <a:lstStyle>
            <a:lvl1pPr algn="l">
              <a:lnSpc>
                <a:spcPct val="100000"/>
              </a:lnSpc>
              <a:spcBef>
                <a:spcPts val="0"/>
              </a:spcBef>
              <a:defRPr sz="50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itel durch klicken hinzufügen</a:t>
            </a:r>
          </a:p>
        </p:txBody>
      </p:sp>
      <p:sp>
        <p:nvSpPr>
          <p:cNvPr id="14" name="Textplatzhalter 20">
            <a:extLst>
              <a:ext uri="{FF2B5EF4-FFF2-40B4-BE49-F238E27FC236}">
                <a16:creationId xmlns:a16="http://schemas.microsoft.com/office/drawing/2014/main" id="{B844ACB7-98F5-7044-A959-474A15FAEE00}"/>
              </a:ext>
            </a:extLst>
          </p:cNvPr>
          <p:cNvSpPr>
            <a:spLocks noGrp="1"/>
          </p:cNvSpPr>
          <p:nvPr>
            <p:ph type="body" sz="quarter" idx="16" hasCustomPrompt="1"/>
          </p:nvPr>
        </p:nvSpPr>
        <p:spPr>
          <a:xfrm>
            <a:off x="4259263" y="5877272"/>
            <a:ext cx="7453312" cy="246221"/>
          </a:xfrm>
        </p:spPr>
        <p:txBody>
          <a:bodyPr wrap="square" anchor="b">
            <a:sp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Name</a:t>
            </a:r>
          </a:p>
        </p:txBody>
      </p:sp>
      <p:sp>
        <p:nvSpPr>
          <p:cNvPr id="16" name="Datumsplatzhalter 4"/>
          <p:cNvSpPr>
            <a:spLocks noGrp="1"/>
          </p:cNvSpPr>
          <p:nvPr>
            <p:ph type="dt" sz="half" idx="2"/>
          </p:nvPr>
        </p:nvSpPr>
        <p:spPr>
          <a:xfrm>
            <a:off x="5150840" y="6207115"/>
            <a:ext cx="6562357" cy="246221"/>
          </a:xfrm>
          <a:prstGeom prst="rect">
            <a:avLst/>
          </a:prstGeom>
        </p:spPr>
        <p:txBody>
          <a:bodyPr vert="horz" lIns="0" tIns="0" rIns="0" bIns="0" rtlCol="0" anchor="b">
            <a:noAutofit/>
          </a:bodyPr>
          <a:lstStyle>
            <a:lvl1pPr algn="l">
              <a:defRPr sz="16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CF01AE77-644B-464B-A16C-B23B1AC8F0CE}" type="datetime3">
              <a:rPr lang="en-GB" smtClean="0"/>
              <a:t>2 February, 2020</a:t>
            </a:fld>
            <a:endParaRPr lang="de-DE" dirty="0"/>
          </a:p>
        </p:txBody>
      </p:sp>
    </p:spTree>
    <p:extLst>
      <p:ext uri="{BB962C8B-B14F-4D97-AF65-F5344CB8AC3E}">
        <p14:creationId xmlns:p14="http://schemas.microsoft.com/office/powerpoint/2010/main" val="3618101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059398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27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5"/>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a:t>
            </a:fld>
            <a:endParaRPr lang="de-DE" dirty="0"/>
          </a:p>
        </p:txBody>
      </p:sp>
      <p:sp>
        <p:nvSpPr>
          <p:cNvPr id="12" name="Textplatzhalter 15"/>
          <p:cNvSpPr>
            <a:spLocks noGrp="1"/>
          </p:cNvSpPr>
          <p:nvPr>
            <p:ph type="body" sz="quarter" idx="13" hasCustomPrompt="1"/>
          </p:nvPr>
        </p:nvSpPr>
        <p:spPr>
          <a:xfrm>
            <a:off x="0" y="914400"/>
            <a:ext cx="11928472" cy="991792"/>
          </a:xfrm>
          <a:solidFill>
            <a:schemeClr val="tx2"/>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ext bearbeiten</a:t>
            </a:r>
          </a:p>
        </p:txBody>
      </p:sp>
    </p:spTree>
    <p:extLst>
      <p:ext uri="{BB962C8B-B14F-4D97-AF65-F5344CB8AC3E}">
        <p14:creationId xmlns:p14="http://schemas.microsoft.com/office/powerpoint/2010/main" val="17120688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4219"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5"/>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a:t>
            </a:fld>
            <a:endParaRPr lang="de-DE" dirty="0"/>
          </a:p>
        </p:txBody>
      </p:sp>
      <p:sp>
        <p:nvSpPr>
          <p:cNvPr id="12" name="Textplatzhalter 15"/>
          <p:cNvSpPr>
            <a:spLocks noGrp="1"/>
          </p:cNvSpPr>
          <p:nvPr>
            <p:ph type="body" sz="quarter" idx="13" hasCustomPrompt="1"/>
          </p:nvPr>
        </p:nvSpPr>
        <p:spPr>
          <a:xfrm>
            <a:off x="0" y="914400"/>
            <a:ext cx="11928472" cy="991792"/>
          </a:xfrm>
          <a:solidFill>
            <a:schemeClr val="tx2"/>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ext bearbeiten</a:t>
            </a:r>
          </a:p>
        </p:txBody>
      </p:sp>
    </p:spTree>
    <p:extLst>
      <p:ext uri="{BB962C8B-B14F-4D97-AF65-F5344CB8AC3E}">
        <p14:creationId xmlns:p14="http://schemas.microsoft.com/office/powerpoint/2010/main" val="114161890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5243"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221503944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6267"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60640219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291"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78865698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8315"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lgn="ctr">
              <a:defRPr sz="110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264720803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9339"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20" name="Gerade Verbindung 19"/>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2">
            <a:extLst>
              <a:ext uri="{FF2B5EF4-FFF2-40B4-BE49-F238E27FC236}">
                <a16:creationId xmlns:a16="http://schemas.microsoft.com/office/drawing/2014/main" id="{3B32DA5B-3025-5D45-A927-BAED7D4FEB3A}"/>
              </a:ext>
            </a:extLst>
          </p:cNvPr>
          <p:cNvSpPr>
            <a:spLocks noGrp="1"/>
          </p:cNvSpPr>
          <p:nvPr>
            <p:ph idx="17" hasCustomPrompt="1"/>
          </p:nvPr>
        </p:nvSpPr>
        <p:spPr>
          <a:xfrm>
            <a:off x="263525" y="1052736"/>
            <a:ext cx="11448000" cy="346310"/>
          </a:xfrm>
          <a:prstGeom prst="rect">
            <a:avLst/>
          </a:prstGeom>
        </p:spPr>
        <p:txBody>
          <a:bodyPr vert="horz" lIns="0" tIns="0" rIns="0" bIns="0" rtlCol="0">
            <a:noAutofit/>
          </a:bodyPr>
          <a:lstStyle>
            <a:lvl1pPr>
              <a:defRPr>
                <a:solidFill>
                  <a:schemeClr val="tx1"/>
                </a:solidFill>
                <a:latin typeface="Arial" panose="020B0604020202020204" pitchFamily="34" charset="0"/>
                <a:cs typeface="Arial" panose="020B0604020202020204" pitchFamily="34" charset="0"/>
                <a:sym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
        <p:nvSpPr>
          <p:cNvPr id="2" name="Titel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9"/>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11"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12"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Tree>
    <p:extLst>
      <p:ext uri="{BB962C8B-B14F-4D97-AF65-F5344CB8AC3E}">
        <p14:creationId xmlns:p14="http://schemas.microsoft.com/office/powerpoint/2010/main" val="86033093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Kapiteleinstieg 1">
    <p:spTree>
      <p:nvGrpSpPr>
        <p:cNvPr id="1" name=""/>
        <p:cNvGrpSpPr/>
        <p:nvPr/>
      </p:nvGrpSpPr>
      <p:grpSpPr>
        <a:xfrm>
          <a:off x="0" y="0"/>
          <a:ext cx="0" cy="0"/>
          <a:chOff x="0" y="0"/>
          <a:chExt cx="0" cy="0"/>
        </a:xfrm>
      </p:grpSpPr>
      <p:sp>
        <p:nvSpPr>
          <p:cNvPr id="5" name="Rechteck 4"/>
          <p:cNvSpPr/>
          <p:nvPr userDrawn="1"/>
        </p:nvSpPr>
        <p:spPr>
          <a:xfrm>
            <a:off x="-794" y="0"/>
            <a:ext cx="12193588" cy="90872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Arial" panose="020B0604020202020204" pitchFamily="34" charset="0"/>
                <a:cs typeface="Arial"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0363"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23977" y="3302606"/>
            <a:ext cx="6881442"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7" name="Foliennummernplatzhalter 16"/>
          <p:cNvSpPr>
            <a:spLocks noGrp="1"/>
          </p:cNvSpPr>
          <p:nvPr>
            <p:ph type="sldNum" sz="quarter" idx="17"/>
          </p:nvPr>
        </p:nvSpPr>
        <p:spPr>
          <a:xfrm>
            <a:off x="11928648" y="6453187"/>
            <a:ext cx="263350" cy="404813"/>
          </a:xfrm>
          <a:prstGeom prst="rect">
            <a:avLst/>
          </a:prstGeom>
        </p:spPr>
        <p:txBody>
          <a:bodyPr lIns="0" tIns="0" rIns="0" bIns="0" anchor="ctr" anchorCtr="0"/>
          <a:lstStyle>
            <a:lvl1pPr algn="ctr">
              <a:defRPr sz="110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10" name="object 4">
            <a:extLst>
              <a:ext uri="{FF2B5EF4-FFF2-40B4-BE49-F238E27FC236}">
                <a16:creationId xmlns:a16="http://schemas.microsoft.com/office/drawing/2014/main" id="{880C4227-47B7-694C-8443-CF01E2AE097C}"/>
              </a:ext>
            </a:extLst>
          </p:cNvPr>
          <p:cNvSpPr/>
          <p:nvPr userDrawn="1"/>
        </p:nvSpPr>
        <p:spPr>
          <a:xfrm>
            <a:off x="2681" y="899998"/>
            <a:ext cx="4813416" cy="45719"/>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2" name="Titel 5"/>
          <p:cNvSpPr>
            <a:spLocks noGrp="1"/>
          </p:cNvSpPr>
          <p:nvPr>
            <p:ph type="title" hasCustomPrompt="1"/>
          </p:nvPr>
        </p:nvSpPr>
        <p:spPr>
          <a:xfrm>
            <a:off x="263526" y="260648"/>
            <a:ext cx="4421686"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Tree>
    <p:extLst>
      <p:ext uri="{BB962C8B-B14F-4D97-AF65-F5344CB8AC3E}">
        <p14:creationId xmlns:p14="http://schemas.microsoft.com/office/powerpoint/2010/main" val="40631023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Arial" panose="020B0604020202020204" pitchFamily="34" charset="0"/>
                <a:cs typeface="Arial"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552"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23977" y="3302606"/>
            <a:ext cx="6881442"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7" name="Foliennummernplatzhalter 16"/>
          <p:cNvSpPr>
            <a:spLocks noGrp="1"/>
          </p:cNvSpPr>
          <p:nvPr>
            <p:ph type="sldNum" sz="quarter" idx="17"/>
          </p:nvPr>
        </p:nvSpPr>
        <p:spPr>
          <a:xfrm>
            <a:off x="11928648" y="6453187"/>
            <a:ext cx="263350" cy="404813"/>
          </a:xfrm>
          <a:prstGeom prst="rect">
            <a:avLst/>
          </a:prstGeom>
        </p:spPr>
        <p:txBody>
          <a:bodyPr lIns="0" tIns="0" rIns="0" bIns="0" anchor="ctr" anchorCtr="0"/>
          <a:lstStyle>
            <a:lvl1pPr algn="ctr">
              <a:defRPr sz="110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14" name="Textplatzhalter 15">
            <a:extLst>
              <a:ext uri="{FF2B5EF4-FFF2-40B4-BE49-F238E27FC236}">
                <a16:creationId xmlns:a16="http://schemas.microsoft.com/office/drawing/2014/main" id="{1A835BE2-55CD-2A46-97A5-3378A6C95F22}"/>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prstClr val="black"/>
            </a:outerShdw>
          </a:effectLst>
        </p:spPr>
        <p:txBody>
          <a:bodyPr wrap="square" lIns="262800" rIns="144000" bIns="208800">
            <a:spAutoFit/>
          </a:bodyPr>
          <a:lstStyle>
            <a:lvl1pPr algn="l">
              <a:lnSpc>
                <a:spcPct val="100000"/>
              </a:lnSpc>
              <a:spcBef>
                <a:spcPts val="0"/>
              </a:spcBef>
              <a:defRPr sz="2800" cap="all" spc="-70"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err="1"/>
              <a:t>KApitel</a:t>
            </a:r>
            <a:endParaRPr lang="de-DE" dirty="0"/>
          </a:p>
        </p:txBody>
      </p:sp>
    </p:spTree>
    <p:extLst>
      <p:ext uri="{BB962C8B-B14F-4D97-AF65-F5344CB8AC3E}">
        <p14:creationId xmlns:p14="http://schemas.microsoft.com/office/powerpoint/2010/main" val="196295312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9576"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8" y="3297236"/>
            <a:ext cx="6858001"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348228521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060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13280155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24583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973"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291759592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1624"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5"/>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a:t>
            </a:fld>
            <a:endParaRPr lang="de-DE" dirty="0"/>
          </a:p>
        </p:txBody>
      </p:sp>
      <p:sp>
        <p:nvSpPr>
          <p:cNvPr id="12" name="Textplatzhalter 15"/>
          <p:cNvSpPr>
            <a:spLocks noGrp="1"/>
          </p:cNvSpPr>
          <p:nvPr>
            <p:ph type="body" sz="quarter" idx="13" hasCustomPrompt="1"/>
          </p:nvPr>
        </p:nvSpPr>
        <p:spPr>
          <a:xfrm>
            <a:off x="0" y="914400"/>
            <a:ext cx="11928472" cy="991792"/>
          </a:xfrm>
          <a:solidFill>
            <a:schemeClr val="tx2"/>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ext bearbeiten</a:t>
            </a:r>
          </a:p>
        </p:txBody>
      </p:sp>
    </p:spTree>
    <p:extLst>
      <p:ext uri="{BB962C8B-B14F-4D97-AF65-F5344CB8AC3E}">
        <p14:creationId xmlns:p14="http://schemas.microsoft.com/office/powerpoint/2010/main" val="24198558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2648"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84633428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3672"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124683995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4696"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145469916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572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lgn="ctr">
              <a:defRPr sz="110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96190945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6744"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3" name="Rechteck 12"/>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8" name="Gerade Verbindung 7"/>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feld 8"/>
          <p:cNvSpPr txBox="1"/>
          <p:nvPr userDrawn="1"/>
        </p:nvSpPr>
        <p:spPr>
          <a:xfrm rot="16200000">
            <a:off x="8631237" y="3297235"/>
            <a:ext cx="6858000"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4" name="Foliennummernplatzhalter 13"/>
          <p:cNvSpPr>
            <a:spLocks noGrp="1"/>
          </p:cNvSpPr>
          <p:nvPr>
            <p:ph type="sldNum" sz="quarter" idx="12"/>
          </p:nvPr>
        </p:nvSpPr>
        <p:spPr/>
        <p:txBody>
          <a:bodyPr/>
          <a:lstStyle>
            <a:lvl1pPr>
              <a:defRPr>
                <a:solidFill>
                  <a:schemeClr val="accent5"/>
                </a:solidFill>
              </a:defRPr>
            </a:lvl1pPr>
          </a:lstStyle>
          <a:p>
            <a:endParaRPr lang="de-DE" dirty="0"/>
          </a:p>
        </p:txBody>
      </p:sp>
      <p:cxnSp>
        <p:nvCxnSpPr>
          <p:cNvPr id="15" name="Gerade Verbindung 14"/>
          <p:cNvCxnSpPr/>
          <p:nvPr userDrawn="1"/>
        </p:nvCxnSpPr>
        <p:spPr>
          <a:xfrm>
            <a:off x="5951984" y="765170"/>
            <a:ext cx="0" cy="609283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feld 15"/>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9"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
        <p:nvSpPr>
          <p:cNvPr id="12" name="Titel 1">
            <a:extLst>
              <a:ext uri="{FF2B5EF4-FFF2-40B4-BE49-F238E27FC236}">
                <a16:creationId xmlns:a16="http://schemas.microsoft.com/office/drawing/2014/main" id="{F232BE50-6A26-BF4A-A4FC-355E67A0E05C}"/>
              </a:ext>
            </a:extLst>
          </p:cNvPr>
          <p:cNvSpPr>
            <a:spLocks noGrp="1"/>
          </p:cNvSpPr>
          <p:nvPr>
            <p:ph type="title" hasCustomPrompt="1"/>
          </p:nvPr>
        </p:nvSpPr>
        <p:spPr>
          <a:xfrm>
            <a:off x="263525" y="260350"/>
            <a:ext cx="11411596" cy="395288"/>
          </a:xfrm>
          <a:prstGeom prst="rect">
            <a:avLst/>
          </a:prstGeom>
        </p:spPr>
        <p:txBody>
          <a:bodyPr lIns="90000"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361232524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68"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184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tx2"/>
          </a:solidFill>
          <a:effectLst>
            <a:outerShdw dist="27940" dir="5400000" algn="t" rotWithShape="0">
              <a:prstClr val="black"/>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endParaRPr lang="de-DE" dirty="0"/>
          </a:p>
        </p:txBody>
      </p:sp>
      <p:sp>
        <p:nvSpPr>
          <p:cNvPr id="14"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
        <p:nvSpPr>
          <p:cNvPr id="15" name="Titel 1">
            <a:extLst>
              <a:ext uri="{FF2B5EF4-FFF2-40B4-BE49-F238E27FC236}">
                <a16:creationId xmlns:a16="http://schemas.microsoft.com/office/drawing/2014/main" id="{F232BE50-6A26-BF4A-A4FC-355E67A0E05C}"/>
              </a:ext>
            </a:extLst>
          </p:cNvPr>
          <p:cNvSpPr>
            <a:spLocks noGrp="1"/>
          </p:cNvSpPr>
          <p:nvPr>
            <p:ph type="title" hasCustomPrompt="1"/>
          </p:nvPr>
        </p:nvSpPr>
        <p:spPr>
          <a:xfrm>
            <a:off x="263525" y="260350"/>
            <a:ext cx="11411596" cy="395288"/>
          </a:xfrm>
          <a:prstGeom prst="rect">
            <a:avLst/>
          </a:prstGeom>
        </p:spPr>
        <p:txBody>
          <a:bodyPr lIns="90000"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16533686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Kopfzeile + Fließtextkasten Rödl&amp;Partner gre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792"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7647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feld 18"/>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21" name="Textfeld 20"/>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Foliennummernplatzhalter 23"/>
          <p:cNvSpPr>
            <a:spLocks noGrp="1"/>
          </p:cNvSpPr>
          <p:nvPr>
            <p:ph type="sldNum" sz="quarter" idx="16"/>
          </p:nvPr>
        </p:nvSpPr>
        <p:spPr/>
        <p:txBody>
          <a:bodyPr/>
          <a:lstStyle/>
          <a:p>
            <a:endParaRPr lang="de-DE" dirty="0"/>
          </a:p>
        </p:txBody>
      </p:sp>
      <p:sp>
        <p:nvSpPr>
          <p:cNvPr id="17" name="Textplatzhalter 2"/>
          <p:cNvSpPr>
            <a:spLocks noGrp="1"/>
          </p:cNvSpPr>
          <p:nvPr>
            <p:ph idx="1"/>
          </p:nvPr>
        </p:nvSpPr>
        <p:spPr>
          <a:xfrm>
            <a:off x="263525" y="1052512"/>
            <a:ext cx="11411596"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8"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22"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Tree>
    <p:extLst>
      <p:ext uri="{BB962C8B-B14F-4D97-AF65-F5344CB8AC3E}">
        <p14:creationId xmlns:p14="http://schemas.microsoft.com/office/powerpoint/2010/main" val="151879285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9816"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7647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endParaRPr lang="de-DE" dirty="0"/>
          </a:p>
        </p:txBody>
      </p:sp>
      <p:sp>
        <p:nvSpPr>
          <p:cNvPr id="14"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
        <p:nvSpPr>
          <p:cNvPr id="15" name="Titel 1">
            <a:extLst>
              <a:ext uri="{FF2B5EF4-FFF2-40B4-BE49-F238E27FC236}">
                <a16:creationId xmlns:a16="http://schemas.microsoft.com/office/drawing/2014/main" id="{F232BE50-6A26-BF4A-A4FC-355E67A0E05C}"/>
              </a:ext>
            </a:extLst>
          </p:cNvPr>
          <p:cNvSpPr>
            <a:spLocks noGrp="1"/>
          </p:cNvSpPr>
          <p:nvPr>
            <p:ph type="title" hasCustomPrompt="1"/>
          </p:nvPr>
        </p:nvSpPr>
        <p:spPr>
          <a:xfrm>
            <a:off x="263525" y="260350"/>
            <a:ext cx="11411596" cy="395288"/>
          </a:xfrm>
          <a:prstGeom prst="rect">
            <a:avLst/>
          </a:prstGeom>
        </p:spPr>
        <p:txBody>
          <a:bodyPr lIns="90000"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4508573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_Inhalt">
    <p:spTree>
      <p:nvGrpSpPr>
        <p:cNvPr id="1" name=""/>
        <p:cNvGrpSpPr/>
        <p:nvPr/>
      </p:nvGrpSpPr>
      <p:grpSpPr>
        <a:xfrm>
          <a:off x="0" y="0"/>
          <a:ext cx="0" cy="0"/>
          <a:chOff x="0" y="0"/>
          <a:chExt cx="0" cy="0"/>
        </a:xfrm>
      </p:grpSpPr>
      <p:sp>
        <p:nvSpPr>
          <p:cNvPr id="6" name="Titel 1"/>
          <p:cNvSpPr>
            <a:spLocks noGrp="1"/>
          </p:cNvSpPr>
          <p:nvPr>
            <p:ph type="title"/>
          </p:nvPr>
        </p:nvSpPr>
        <p:spPr>
          <a:xfrm>
            <a:off x="270000" y="486000"/>
            <a:ext cx="11664000" cy="506038"/>
          </a:xfrm>
          <a:prstGeom prst="rect">
            <a:avLst/>
          </a:prstGeom>
        </p:spPr>
        <p:txBody>
          <a:bodyPr wrap="square" lIns="0" tIns="0" rIns="0" bIns="0" anchor="b"/>
          <a:lstStyle>
            <a:lvl1pPr>
              <a:defRPr sz="2400">
                <a:solidFill>
                  <a:schemeClr val="bg2"/>
                </a:solidFill>
              </a:defRPr>
            </a:lvl1pPr>
          </a:lstStyle>
          <a:p>
            <a:r>
              <a:rPr lang="de-DE" dirty="0"/>
              <a:t>Titelmasterformat durch Klicken bearbeiten</a:t>
            </a:r>
          </a:p>
        </p:txBody>
      </p:sp>
      <p:sp>
        <p:nvSpPr>
          <p:cNvPr id="2" name="Textfeld 1"/>
          <p:cNvSpPr txBox="1"/>
          <p:nvPr userDrawn="1"/>
        </p:nvSpPr>
        <p:spPr>
          <a:xfrm>
            <a:off x="277813" y="1231900"/>
            <a:ext cx="11674475" cy="5078313"/>
          </a:xfrm>
          <a:prstGeom prst="rect">
            <a:avLst/>
          </a:prstGeom>
          <a:noFill/>
        </p:spPr>
        <p:txBody>
          <a:bodyPr wrap="square" rtlCol="0">
            <a:spAutoFit/>
          </a:bodyPr>
          <a:lstStyle/>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p:txBody>
      </p:sp>
      <p:sp>
        <p:nvSpPr>
          <p:cNvPr id="10" name="Textplatzhalter 9"/>
          <p:cNvSpPr>
            <a:spLocks noGrp="1"/>
          </p:cNvSpPr>
          <p:nvPr>
            <p:ph type="body" sz="quarter" idx="23"/>
          </p:nvPr>
        </p:nvSpPr>
        <p:spPr>
          <a:xfrm>
            <a:off x="277813" y="1231900"/>
            <a:ext cx="11674475" cy="5092700"/>
          </a:xfrm>
          <a:prstGeom prst="rect">
            <a:avLst/>
          </a:prstGeom>
          <a:ln>
            <a:noFill/>
          </a:ln>
        </p:spPr>
        <p:txBody>
          <a:bodyPr>
            <a:normAutofit/>
          </a:bodyP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endParaRPr lang="de-DE" dirty="0"/>
          </a:p>
        </p:txBody>
      </p:sp>
      <p:cxnSp>
        <p:nvCxnSpPr>
          <p:cNvPr id="8" name="Gerade Verbindung 7"/>
          <p:cNvCxnSpPr/>
          <p:nvPr userDrawn="1">
            <p:custDataLst>
              <p:tags r:id="rId1"/>
            </p:custDataLst>
          </p:nvPr>
        </p:nvCxnSpPr>
        <p:spPr bwMode="gray">
          <a:xfrm>
            <a:off x="277813" y="1079500"/>
            <a:ext cx="11674475"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custDataLst>
              <p:tags r:id="rId2"/>
            </p:custDataLst>
          </p:nvPr>
        </p:nvCxnSpPr>
        <p:spPr bwMode="gray">
          <a:xfrm>
            <a:off x="258762" y="6324600"/>
            <a:ext cx="11674475"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9906839"/>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61109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2922"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289755412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12" name="Titel 11"/>
          <p:cNvSpPr>
            <a:spLocks noGrp="1"/>
          </p:cNvSpPr>
          <p:nvPr>
            <p:ph type="title"/>
          </p:nvPr>
        </p:nvSpPr>
        <p:spPr bwMode="gray">
          <a:xfrm>
            <a:off x="334434" y="549275"/>
            <a:ext cx="11523133" cy="863600"/>
          </a:xfrm>
        </p:spPr>
        <p:txBody>
          <a:bodyPr/>
          <a:lstStyle/>
          <a:p>
            <a:r>
              <a:rPr lang="de-DE"/>
              <a:t>Titelmasterformat durch Klicken bearbeiten</a:t>
            </a:r>
            <a:endParaRPr lang="de-DE" dirty="0"/>
          </a:p>
        </p:txBody>
      </p:sp>
      <p:sp>
        <p:nvSpPr>
          <p:cNvPr id="6" name="Rechteck 5">
            <a:hlinkClick r:id="" action="ppaction://hlinkshowjump?jump=firstslide"/>
          </p:cNvPr>
          <p:cNvSpPr/>
          <p:nvPr userDrawn="1"/>
        </p:nvSpPr>
        <p:spPr bwMode="gray">
          <a:xfrm>
            <a:off x="9456374" y="260648"/>
            <a:ext cx="2401193"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rgbClr val="040404"/>
              </a:solidFill>
            </a:endParaRPr>
          </a:p>
        </p:txBody>
      </p:sp>
      <p:sp>
        <p:nvSpPr>
          <p:cNvPr id="7" name="Rechteck 6">
            <a:hlinkClick r:id="" action="ppaction://hlinkshowjump?jump=firstslide"/>
          </p:cNvPr>
          <p:cNvSpPr/>
          <p:nvPr userDrawn="1"/>
        </p:nvSpPr>
        <p:spPr bwMode="gray">
          <a:xfrm>
            <a:off x="9456374" y="260648"/>
            <a:ext cx="2401193"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rgbClr val="040404"/>
              </a:solidFill>
            </a:endParaRPr>
          </a:p>
        </p:txBody>
      </p:sp>
      <p:sp>
        <p:nvSpPr>
          <p:cNvPr id="8" name="Rechteck 7">
            <a:hlinkClick r:id="" action="ppaction://hlinkshowjump?jump=firstslide"/>
          </p:cNvPr>
          <p:cNvSpPr/>
          <p:nvPr userDrawn="1">
            <p:custDataLst>
              <p:tags r:id="rId1"/>
            </p:custDataLst>
          </p:nvPr>
        </p:nvSpPr>
        <p:spPr bwMode="gray">
          <a:xfrm>
            <a:off x="9264353" y="260648"/>
            <a:ext cx="2593215"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rgbClr val="040404"/>
              </a:solidFill>
            </a:endParaRPr>
          </a:p>
        </p:txBody>
      </p:sp>
    </p:spTree>
    <p:extLst>
      <p:ext uri="{BB962C8B-B14F-4D97-AF65-F5344CB8AC3E}">
        <p14:creationId xmlns:p14="http://schemas.microsoft.com/office/powerpoint/2010/main" val="673471526"/>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084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0" name="Gerade Verbindung 19"/>
          <p:cNvCxnSpPr/>
          <p:nvPr userDrawn="1"/>
        </p:nvCxnSpPr>
        <p:spPr>
          <a:xfrm>
            <a:off x="0" y="764704"/>
            <a:ext cx="11928475"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platzhalter 2"/>
          <p:cNvSpPr>
            <a:spLocks noGrp="1"/>
          </p:cNvSpPr>
          <p:nvPr>
            <p:ph idx="1" hasCustomPrompt="1"/>
          </p:nvPr>
        </p:nvSpPr>
        <p:spPr>
          <a:xfrm>
            <a:off x="263525" y="1052512"/>
            <a:ext cx="11448000" cy="5400675"/>
          </a:xfrm>
          <a:prstGeom prst="rect">
            <a:avLst/>
          </a:prstGeom>
        </p:spPr>
        <p:txBody>
          <a:bodyPr vert="horz" lIns="0" tIns="0" rIns="0" bIns="0" rtlCol="0">
            <a:noAutofit/>
          </a:bodyPr>
          <a:lstStyle>
            <a:lvl1pPr>
              <a:defRPr>
                <a:solidFill>
                  <a:schemeClr val="tx2"/>
                </a:solidFill>
                <a:latin typeface="Arial" panose="020B0604020202020204" pitchFamily="34" charset="0"/>
                <a:cs typeface="Arial" panose="020B0604020202020204" pitchFamily="34" charset="0"/>
                <a:sym typeface="Arial" panose="020B0604020202020204" pitchFamily="34" charset="0"/>
              </a:defRPr>
            </a:lvl1pPr>
            <a:lvl2pPr>
              <a:defRPr>
                <a:solidFill>
                  <a:schemeClr val="tx2"/>
                </a:solidFill>
                <a:latin typeface="Arial" panose="020B0604020202020204" pitchFamily="34" charset="0"/>
                <a:cs typeface="Arial" panose="020B0604020202020204" pitchFamily="34" charset="0"/>
                <a:sym typeface="Arial" panose="020B0604020202020204" pitchFamily="34" charset="0"/>
              </a:defRPr>
            </a:lvl2pPr>
            <a:lvl3pPr>
              <a:defRPr>
                <a:solidFill>
                  <a:schemeClr val="tx2"/>
                </a:solidFill>
                <a:latin typeface="Arial" panose="020B0604020202020204" pitchFamily="34" charset="0"/>
                <a:cs typeface="Arial" panose="020B0604020202020204" pitchFamily="34" charset="0"/>
                <a:sym typeface="Arial" panose="020B0604020202020204" pitchFamily="34" charset="0"/>
              </a:defRPr>
            </a:lvl3pPr>
            <a:lvl4pPr>
              <a:defRPr>
                <a:solidFill>
                  <a:schemeClr val="tx2"/>
                </a:solidFill>
                <a:latin typeface="Arial" panose="020B0604020202020204" pitchFamily="34" charset="0"/>
                <a:cs typeface="Arial" panose="020B0604020202020204" pitchFamily="34" charset="0"/>
                <a:sym typeface="Arial" panose="020B0604020202020204" pitchFamily="34" charset="0"/>
              </a:defRPr>
            </a:lvl4pPr>
            <a:lvl5pPr>
              <a:defRPr>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 name="Titel 2"/>
          <p:cNvSpPr>
            <a:spLocks noGrp="1"/>
          </p:cNvSpPr>
          <p:nvPr>
            <p:ph type="title"/>
          </p:nvPr>
        </p:nvSpPr>
        <p:spPr/>
        <p:txBody>
          <a:bodyPr/>
          <a:lstStyle>
            <a:lvl1pPr>
              <a:defRPr>
                <a:solidFill>
                  <a:schemeClr val="tx2"/>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endParaRPr lang="de-DE" dirty="0"/>
          </a:p>
        </p:txBody>
      </p:sp>
      <p:sp>
        <p:nvSpPr>
          <p:cNvPr id="8" name="Foliennummernplatzhalter 7"/>
          <p:cNvSpPr>
            <a:spLocks noGrp="1"/>
          </p:cNvSpPr>
          <p:nvPr>
            <p:ph type="sldNum" sz="quarter" idx="11"/>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87794674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1864"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Foliennummernplatzhalter 10"/>
          <p:cNvSpPr>
            <a:spLocks noGrp="1"/>
          </p:cNvSpPr>
          <p:nvPr>
            <p:ph type="sldNum" sz="quarter" idx="16"/>
          </p:nvPr>
        </p:nvSpPr>
        <p:spPr>
          <a:xfrm>
            <a:off x="11928648" y="6453187"/>
            <a:ext cx="263350" cy="404813"/>
          </a:xfrm>
          <a:prstGeom prst="rect">
            <a:avLst/>
          </a:prstGeom>
        </p:spPr>
        <p:txBody>
          <a:bodyPr/>
          <a:lstStyle/>
          <a:p>
            <a:fld id="{4CFEB0D3-1EB3-4F08-8062-95FFB9749870}" type="slidenum">
              <a:rPr lang="de-DE" smtClean="0"/>
              <a:pPr/>
              <a:t>‹#›</a:t>
            </a:fld>
            <a:endParaRPr lang="de-DE" dirty="0"/>
          </a:p>
        </p:txBody>
      </p:sp>
      <p:sp>
        <p:nvSpPr>
          <p:cNvPr id="13"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Präsentationstitel ändert man über: Einfügen &gt; Kopf und Fußzeile </a:t>
            </a:r>
            <a:endParaRPr lang="de-DE" dirty="0"/>
          </a:p>
        </p:txBody>
      </p:sp>
      <p:sp>
        <p:nvSpPr>
          <p:cNvPr id="8" name="Textplatzhalter 2"/>
          <p:cNvSpPr>
            <a:spLocks noGrp="1"/>
          </p:cNvSpPr>
          <p:nvPr>
            <p:ph idx="1"/>
          </p:nvPr>
        </p:nvSpPr>
        <p:spPr>
          <a:xfrm>
            <a:off x="263525" y="1457326"/>
            <a:ext cx="11448000" cy="4995860"/>
          </a:xfrm>
          <a:prstGeom prst="rect">
            <a:avLst/>
          </a:prstGeom>
        </p:spPr>
        <p:txBody>
          <a:bodyPr vert="horz" lIns="0" tIns="0" rIns="0" bIns="0" rtlCol="0">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9" name="Textplatzhalter 2"/>
          <p:cNvSpPr>
            <a:spLocks noGrp="1"/>
          </p:cNvSpPr>
          <p:nvPr>
            <p:ph idx="17" hasCustomPrompt="1"/>
          </p:nvPr>
        </p:nvSpPr>
        <p:spPr>
          <a:xfrm>
            <a:off x="263525" y="1052736"/>
            <a:ext cx="11448000" cy="346310"/>
          </a:xfrm>
          <a:prstGeom prst="rect">
            <a:avLst/>
          </a:prstGeom>
        </p:spPr>
        <p:txBody>
          <a:bodyPr vert="horz" lIns="0" tIns="0" rIns="0" bIns="0" rtlCol="0">
            <a:no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
        <p:nvSpPr>
          <p:cNvPr id="2" name="Titel 1"/>
          <p:cNvSpPr>
            <a:spLocks noGrp="1"/>
          </p:cNvSpPr>
          <p:nvPr>
            <p:ph type="title"/>
          </p:nvPr>
        </p:nvSpPr>
        <p:spPr/>
        <p:txBody>
          <a:bodyPr/>
          <a:lstStyle/>
          <a:p>
            <a:r>
              <a:rPr lang="de-DE"/>
              <a:t>Titelmasterformat durch Klicken bearbeiten</a:t>
            </a:r>
          </a:p>
        </p:txBody>
      </p:sp>
    </p:spTree>
    <p:extLst>
      <p:ext uri="{BB962C8B-B14F-4D97-AF65-F5344CB8AC3E}">
        <p14:creationId xmlns:p14="http://schemas.microsoft.com/office/powerpoint/2010/main" val="14237720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802885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997"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17277041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602841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309"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lgn="ctr">
              <a:defRPr sz="110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19162096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8163"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7647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endParaRPr lang="de-DE" dirty="0"/>
          </a:p>
        </p:txBody>
      </p:sp>
      <p:sp>
        <p:nvSpPr>
          <p:cNvPr id="14"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
        <p:nvSpPr>
          <p:cNvPr id="15" name="Titel 1">
            <a:extLst>
              <a:ext uri="{FF2B5EF4-FFF2-40B4-BE49-F238E27FC236}">
                <a16:creationId xmlns:a16="http://schemas.microsoft.com/office/drawing/2014/main" id="{F232BE50-6A26-BF4A-A4FC-355E67A0E05C}"/>
              </a:ext>
            </a:extLst>
          </p:cNvPr>
          <p:cNvSpPr>
            <a:spLocks noGrp="1"/>
          </p:cNvSpPr>
          <p:nvPr>
            <p:ph type="title" hasCustomPrompt="1"/>
          </p:nvPr>
        </p:nvSpPr>
        <p:spPr>
          <a:xfrm>
            <a:off x="263525" y="260350"/>
            <a:ext cx="11411596" cy="395288"/>
          </a:xfrm>
          <a:prstGeom prst="rect">
            <a:avLst/>
          </a:prstGeom>
        </p:spPr>
        <p:txBody>
          <a:bodyPr lIns="90000"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38205195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_Inhalt">
    <p:spTree>
      <p:nvGrpSpPr>
        <p:cNvPr id="1" name=""/>
        <p:cNvGrpSpPr/>
        <p:nvPr/>
      </p:nvGrpSpPr>
      <p:grpSpPr>
        <a:xfrm>
          <a:off x="0" y="0"/>
          <a:ext cx="0" cy="0"/>
          <a:chOff x="0" y="0"/>
          <a:chExt cx="0" cy="0"/>
        </a:xfrm>
      </p:grpSpPr>
      <p:sp>
        <p:nvSpPr>
          <p:cNvPr id="6" name="Titel 1"/>
          <p:cNvSpPr>
            <a:spLocks noGrp="1"/>
          </p:cNvSpPr>
          <p:nvPr>
            <p:ph type="title"/>
          </p:nvPr>
        </p:nvSpPr>
        <p:spPr>
          <a:xfrm>
            <a:off x="270000" y="486000"/>
            <a:ext cx="11664000" cy="506038"/>
          </a:xfrm>
          <a:prstGeom prst="rect">
            <a:avLst/>
          </a:prstGeom>
        </p:spPr>
        <p:txBody>
          <a:bodyPr wrap="square" lIns="0" tIns="0" rIns="0" bIns="0" anchor="b"/>
          <a:lstStyle>
            <a:lvl1pPr>
              <a:defRPr sz="2400">
                <a:solidFill>
                  <a:schemeClr val="bg2"/>
                </a:solidFill>
              </a:defRPr>
            </a:lvl1pPr>
          </a:lstStyle>
          <a:p>
            <a:r>
              <a:rPr lang="de-DE" dirty="0"/>
              <a:t>Titelmasterformat durch Klicken bearbeiten</a:t>
            </a:r>
          </a:p>
        </p:txBody>
      </p:sp>
      <p:sp>
        <p:nvSpPr>
          <p:cNvPr id="2" name="Textfeld 1"/>
          <p:cNvSpPr txBox="1"/>
          <p:nvPr userDrawn="1"/>
        </p:nvSpPr>
        <p:spPr>
          <a:xfrm>
            <a:off x="277813" y="1231900"/>
            <a:ext cx="11674475" cy="5078313"/>
          </a:xfrm>
          <a:prstGeom prst="rect">
            <a:avLst/>
          </a:prstGeom>
          <a:noFill/>
        </p:spPr>
        <p:txBody>
          <a:bodyPr wrap="square" rtlCol="0">
            <a:spAutoFit/>
          </a:bodyPr>
          <a:lstStyle/>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p:txBody>
      </p:sp>
      <p:sp>
        <p:nvSpPr>
          <p:cNvPr id="10" name="Textplatzhalter 9"/>
          <p:cNvSpPr>
            <a:spLocks noGrp="1"/>
          </p:cNvSpPr>
          <p:nvPr>
            <p:ph type="body" sz="quarter" idx="23"/>
          </p:nvPr>
        </p:nvSpPr>
        <p:spPr>
          <a:xfrm>
            <a:off x="277813" y="1231900"/>
            <a:ext cx="11674475" cy="5092700"/>
          </a:xfrm>
          <a:prstGeom prst="rect">
            <a:avLst/>
          </a:prstGeom>
          <a:ln>
            <a:noFill/>
          </a:ln>
        </p:spPr>
        <p:txBody>
          <a:bodyPr>
            <a:normAutofit/>
          </a:bodyPr>
          <a:lstStyle>
            <a:lvl1pPr marL="0" indent="0">
              <a:buFontTx/>
              <a:buNone/>
              <a:defRPr sz="1600"/>
            </a:lvl1pPr>
            <a:lvl2pPr marL="457200" indent="0">
              <a:buFontTx/>
              <a:buNone/>
              <a:defRPr sz="1600"/>
            </a:lvl2pPr>
            <a:lvl3pPr marL="914400" indent="0">
              <a:buFontTx/>
              <a:buNone/>
              <a:defRPr sz="1600"/>
            </a:lvl3pPr>
            <a:lvl4pPr marL="1371600" indent="0">
              <a:buFontTx/>
              <a:buNone/>
              <a:defRPr sz="1600"/>
            </a:lvl4pPr>
            <a:lvl5pPr marL="1828800" indent="0">
              <a:buFontTx/>
              <a:buNone/>
              <a:defRPr sz="1600"/>
            </a:lvl5pPr>
          </a:lstStyle>
          <a:p>
            <a:pPr lvl="0"/>
            <a:endParaRPr lang="de-DE" dirty="0"/>
          </a:p>
        </p:txBody>
      </p:sp>
      <p:cxnSp>
        <p:nvCxnSpPr>
          <p:cNvPr id="8" name="Gerade Verbindung 7"/>
          <p:cNvCxnSpPr/>
          <p:nvPr userDrawn="1">
            <p:custDataLst>
              <p:tags r:id="rId1"/>
            </p:custDataLst>
          </p:nvPr>
        </p:nvCxnSpPr>
        <p:spPr bwMode="gray">
          <a:xfrm>
            <a:off x="277813" y="1079500"/>
            <a:ext cx="11674475"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custDataLst>
              <p:tags r:id="rId2"/>
            </p:custDataLst>
          </p:nvPr>
        </p:nvCxnSpPr>
        <p:spPr bwMode="gray">
          <a:xfrm>
            <a:off x="258762" y="6324600"/>
            <a:ext cx="11674475"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9376173"/>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12" name="Titel 11"/>
          <p:cNvSpPr>
            <a:spLocks noGrp="1"/>
          </p:cNvSpPr>
          <p:nvPr>
            <p:ph type="title"/>
          </p:nvPr>
        </p:nvSpPr>
        <p:spPr bwMode="gray">
          <a:xfrm>
            <a:off x="334434" y="549275"/>
            <a:ext cx="11523133" cy="863600"/>
          </a:xfrm>
        </p:spPr>
        <p:txBody>
          <a:bodyPr/>
          <a:lstStyle/>
          <a:p>
            <a:r>
              <a:rPr lang="de-DE"/>
              <a:t>Titelmasterformat durch Klicken bearbeiten</a:t>
            </a:r>
            <a:endParaRPr lang="de-DE" dirty="0"/>
          </a:p>
        </p:txBody>
      </p:sp>
      <p:sp>
        <p:nvSpPr>
          <p:cNvPr id="6" name="Rechteck 5">
            <a:hlinkClick r:id="" action="ppaction://hlinkshowjump?jump=firstslide"/>
          </p:cNvPr>
          <p:cNvSpPr/>
          <p:nvPr userDrawn="1"/>
        </p:nvSpPr>
        <p:spPr bwMode="gray">
          <a:xfrm>
            <a:off x="9456374" y="260648"/>
            <a:ext cx="2401193"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rgbClr val="040404"/>
              </a:solidFill>
            </a:endParaRPr>
          </a:p>
        </p:txBody>
      </p:sp>
      <p:sp>
        <p:nvSpPr>
          <p:cNvPr id="7" name="Rechteck 6">
            <a:hlinkClick r:id="" action="ppaction://hlinkshowjump?jump=firstslide"/>
          </p:cNvPr>
          <p:cNvSpPr/>
          <p:nvPr userDrawn="1"/>
        </p:nvSpPr>
        <p:spPr bwMode="gray">
          <a:xfrm>
            <a:off x="9456374" y="260648"/>
            <a:ext cx="2401193"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rgbClr val="040404"/>
              </a:solidFill>
            </a:endParaRPr>
          </a:p>
        </p:txBody>
      </p:sp>
      <p:sp>
        <p:nvSpPr>
          <p:cNvPr id="8" name="Rechteck 7">
            <a:hlinkClick r:id="" action="ppaction://hlinkshowjump?jump=firstslide"/>
          </p:cNvPr>
          <p:cNvSpPr/>
          <p:nvPr userDrawn="1">
            <p:custDataLst>
              <p:tags r:id="rId1"/>
            </p:custDataLst>
          </p:nvPr>
        </p:nvSpPr>
        <p:spPr bwMode="gray">
          <a:xfrm>
            <a:off x="9264353" y="260648"/>
            <a:ext cx="2593215"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rgbClr val="040404"/>
              </a:solidFill>
            </a:endParaRPr>
          </a:p>
        </p:txBody>
      </p:sp>
    </p:spTree>
    <p:extLst>
      <p:ext uri="{BB962C8B-B14F-4D97-AF65-F5344CB8AC3E}">
        <p14:creationId xmlns:p14="http://schemas.microsoft.com/office/powerpoint/2010/main" val="54002048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0685"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0" name="Gerade Verbindung 19"/>
          <p:cNvCxnSpPr/>
          <p:nvPr userDrawn="1"/>
        </p:nvCxnSpPr>
        <p:spPr>
          <a:xfrm>
            <a:off x="0" y="764704"/>
            <a:ext cx="11928475"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platzhalter 2"/>
          <p:cNvSpPr>
            <a:spLocks noGrp="1"/>
          </p:cNvSpPr>
          <p:nvPr>
            <p:ph idx="1" hasCustomPrompt="1"/>
          </p:nvPr>
        </p:nvSpPr>
        <p:spPr>
          <a:xfrm>
            <a:off x="263525" y="1052512"/>
            <a:ext cx="11448000" cy="5400675"/>
          </a:xfrm>
          <a:prstGeom prst="rect">
            <a:avLst/>
          </a:prstGeom>
        </p:spPr>
        <p:txBody>
          <a:bodyPr vert="horz" lIns="0" tIns="0" rIns="0" bIns="0" rtlCol="0">
            <a:noAutofit/>
          </a:bodyPr>
          <a:lstStyle>
            <a:lvl1pPr>
              <a:defRPr>
                <a:solidFill>
                  <a:schemeClr val="tx2"/>
                </a:solidFill>
                <a:latin typeface="Arial" panose="020B0604020202020204" pitchFamily="34" charset="0"/>
                <a:cs typeface="Arial" panose="020B0604020202020204" pitchFamily="34" charset="0"/>
                <a:sym typeface="Arial" panose="020B0604020202020204" pitchFamily="34" charset="0"/>
              </a:defRPr>
            </a:lvl1pPr>
            <a:lvl2pPr>
              <a:defRPr>
                <a:solidFill>
                  <a:schemeClr val="tx2"/>
                </a:solidFill>
                <a:latin typeface="Arial" panose="020B0604020202020204" pitchFamily="34" charset="0"/>
                <a:cs typeface="Arial" panose="020B0604020202020204" pitchFamily="34" charset="0"/>
                <a:sym typeface="Arial" panose="020B0604020202020204" pitchFamily="34" charset="0"/>
              </a:defRPr>
            </a:lvl2pPr>
            <a:lvl3pPr>
              <a:defRPr>
                <a:solidFill>
                  <a:schemeClr val="tx2"/>
                </a:solidFill>
                <a:latin typeface="Arial" panose="020B0604020202020204" pitchFamily="34" charset="0"/>
                <a:cs typeface="Arial" panose="020B0604020202020204" pitchFamily="34" charset="0"/>
                <a:sym typeface="Arial" panose="020B0604020202020204" pitchFamily="34" charset="0"/>
              </a:defRPr>
            </a:lvl3pPr>
            <a:lvl4pPr>
              <a:defRPr>
                <a:solidFill>
                  <a:schemeClr val="tx2"/>
                </a:solidFill>
                <a:latin typeface="Arial" panose="020B0604020202020204" pitchFamily="34" charset="0"/>
                <a:cs typeface="Arial" panose="020B0604020202020204" pitchFamily="34" charset="0"/>
                <a:sym typeface="Arial" panose="020B0604020202020204" pitchFamily="34" charset="0"/>
              </a:defRPr>
            </a:lvl4pPr>
            <a:lvl5pPr>
              <a:defRPr>
                <a:solidFill>
                  <a:schemeClr val="tx2"/>
                </a:solidFill>
                <a:latin typeface="Arial" panose="020B0604020202020204" pitchFamily="34" charset="0"/>
                <a:cs typeface="Arial" panose="020B0604020202020204" pitchFamily="34" charset="0"/>
                <a:sym typeface="Arial" panose="020B0604020202020204" pitchFamily="34" charset="0"/>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 name="Titel 2"/>
          <p:cNvSpPr>
            <a:spLocks noGrp="1"/>
          </p:cNvSpPr>
          <p:nvPr>
            <p:ph type="title"/>
          </p:nvPr>
        </p:nvSpPr>
        <p:spPr/>
        <p:txBody>
          <a:bodyPr/>
          <a:lstStyle>
            <a:lvl1pPr>
              <a:defRPr>
                <a:solidFill>
                  <a:schemeClr val="tx2"/>
                </a:solidFill>
                <a:latin typeface="Arial" panose="020B0604020202020204" pitchFamily="34" charset="0"/>
                <a:cs typeface="Arial" panose="020B0604020202020204" pitchFamily="34" charset="0"/>
                <a:sym typeface="Arial" panose="020B0604020202020204" pitchFamily="34" charset="0"/>
              </a:defRPr>
            </a:lvl1pPr>
          </a:lstStyle>
          <a:p>
            <a:r>
              <a:rPr lang="en-US"/>
              <a:t>Click to edit Master title style</a:t>
            </a:r>
            <a:endParaRPr lang="de-DE" dirty="0"/>
          </a:p>
        </p:txBody>
      </p:sp>
      <p:sp>
        <p:nvSpPr>
          <p:cNvPr id="8" name="Foliennummernplatzhalter 7"/>
          <p:cNvSpPr>
            <a:spLocks noGrp="1"/>
          </p:cNvSpPr>
          <p:nvPr>
            <p:ph type="sldNum" sz="quarter" idx="11"/>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2616347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Arial" panose="020B0604020202020204" pitchFamily="34" charset="0"/>
                <a:cs typeface="Arial"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487012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6021"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5400">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7" name="Foliennummernplatzhalter 16"/>
          <p:cNvSpPr>
            <a:spLocks noGrp="1"/>
          </p:cNvSpPr>
          <p:nvPr>
            <p:ph type="sldNum" sz="quarter" idx="17"/>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12" name="Textplatzhalter 15">
            <a:extLst>
              <a:ext uri="{FF2B5EF4-FFF2-40B4-BE49-F238E27FC236}">
                <a16:creationId xmlns:a16="http://schemas.microsoft.com/office/drawing/2014/main" id="{0C5518B1-4504-3744-9B22-25FE06791E1B}"/>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schemeClr val="bg1"/>
            </a:outerShdw>
          </a:effectLst>
        </p:spPr>
        <p:txBody>
          <a:bodyPr wrap="square" lIns="262800" rIns="144000" bIns="208800">
            <a:spAutoFit/>
          </a:bodyPr>
          <a:lstStyle>
            <a:lvl1pPr algn="l">
              <a:lnSpc>
                <a:spcPct val="100000"/>
              </a:lnSpc>
              <a:spcBef>
                <a:spcPts val="0"/>
              </a:spcBef>
              <a:defRPr sz="2800" cap="all" spc="-70"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err="1"/>
              <a:t>KApitel</a:t>
            </a:r>
            <a:endParaRPr lang="de-DE" dirty="0"/>
          </a:p>
        </p:txBody>
      </p:sp>
    </p:spTree>
    <p:extLst>
      <p:ext uri="{BB962C8B-B14F-4D97-AF65-F5344CB8AC3E}">
        <p14:creationId xmlns:p14="http://schemas.microsoft.com/office/powerpoint/2010/main" val="2796688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Voll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0499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4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feld 3"/>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5" name="Textfeld 4"/>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7" name="Textfeld 6"/>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8" name="Textfeld 7"/>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grpSp>
        <p:nvGrpSpPr>
          <p:cNvPr id="9" name="Gruppieren 8"/>
          <p:cNvGrpSpPr/>
          <p:nvPr userDrawn="1"/>
        </p:nvGrpSpPr>
        <p:grpSpPr>
          <a:xfrm>
            <a:off x="-276708" y="-835143"/>
            <a:ext cx="12205181" cy="7972555"/>
            <a:chOff x="-276708" y="-835143"/>
            <a:chExt cx="12205181" cy="7972555"/>
          </a:xfrm>
        </p:grpSpPr>
        <p:cxnSp>
          <p:nvCxnSpPr>
            <p:cNvPr id="10"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Gerade Verbindung mit Pfeil 1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Gerade Verbindung mit Pfeil 1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2"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
        <p:nvSpPr>
          <p:cNvPr id="6" name="Bildplatzhalter 5"/>
          <p:cNvSpPr>
            <a:spLocks noGrp="1"/>
          </p:cNvSpPr>
          <p:nvPr>
            <p:ph type="pic" sz="quarter" idx="12"/>
          </p:nvPr>
        </p:nvSpPr>
        <p:spPr>
          <a:xfrm>
            <a:off x="0" y="0"/>
            <a:ext cx="12192000" cy="6858000"/>
          </a:xfrm>
          <a:solidFill>
            <a:schemeClr val="bg2"/>
          </a:solidFill>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a:t>Bild durch Klicken auf Symbol hinzufügen</a:t>
            </a:r>
            <a:endParaRPr lang="en-GB" dirty="0"/>
          </a:p>
        </p:txBody>
      </p:sp>
    </p:spTree>
    <p:extLst>
      <p:ext uri="{BB962C8B-B14F-4D97-AF65-F5344CB8AC3E}">
        <p14:creationId xmlns:p14="http://schemas.microsoft.com/office/powerpoint/2010/main" val="23621519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662705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704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13649871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99418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8069"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2219123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740218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25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13" name="Gerade Verbindung 12"/>
          <p:cNvCxnSpPr/>
          <p:nvPr userDrawn="1"/>
        </p:nvCxnSpPr>
        <p:spPr>
          <a:xfrm>
            <a:off x="0" y="900000"/>
            <a:ext cx="119284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 1"/>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5"/>
          </p:nvPr>
        </p:nvSpPr>
        <p:spPr/>
        <p:txBody>
          <a:bodyPr lIns="0" tIns="0" rIns="0" bIns="0" anchor="ctr" anchorCtr="0"/>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12" name="Textplatzhalter 15"/>
          <p:cNvSpPr>
            <a:spLocks noGrp="1"/>
          </p:cNvSpPr>
          <p:nvPr>
            <p:ph type="body" sz="quarter" idx="13" hasCustomPrompt="1"/>
          </p:nvPr>
        </p:nvSpPr>
        <p:spPr>
          <a:xfrm>
            <a:off x="0" y="910800"/>
            <a:ext cx="11928472" cy="991792"/>
          </a:xfrm>
          <a:solidFill>
            <a:schemeClr val="tx2"/>
          </a:solidFill>
          <a:effectLst>
            <a:outerShdw dist="27940" dir="5400000" algn="t" rotWithShape="0">
              <a:schemeClr val="bg1"/>
            </a:outerShdw>
          </a:effectLst>
        </p:spPr>
        <p:txBody>
          <a:bodyPr lIns="1170000" tIns="72000" bIns="72000">
            <a:spAutoFit/>
          </a:bodyPr>
          <a:lstStyle>
            <a:lvl1pPr>
              <a:lnSpc>
                <a:spcPts val="6600"/>
              </a:lnSpc>
              <a:defRPr sz="600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ext bearbeiten</a:t>
            </a:r>
          </a:p>
        </p:txBody>
      </p:sp>
    </p:spTree>
    <p:extLst>
      <p:ext uri="{BB962C8B-B14F-4D97-AF65-F5344CB8AC3E}">
        <p14:creationId xmlns:p14="http://schemas.microsoft.com/office/powerpoint/2010/main" val="36662091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835622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9093"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596893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795263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1898"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21251775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666567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0117"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23540391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43148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333"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lgn="ctr">
              <a:defRPr sz="110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19162096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el und Inhalt">
    <p:spTree>
      <p:nvGrpSpPr>
        <p:cNvPr id="1" name=""/>
        <p:cNvGrpSpPr/>
        <p:nvPr/>
      </p:nvGrpSpPr>
      <p:grpSpPr>
        <a:xfrm>
          <a:off x="0" y="0"/>
          <a:ext cx="0" cy="0"/>
          <a:chOff x="0" y="0"/>
          <a:chExt cx="0" cy="0"/>
        </a:xfrm>
      </p:grpSpPr>
      <p:sp>
        <p:nvSpPr>
          <p:cNvPr id="12" name="Titel 11"/>
          <p:cNvSpPr>
            <a:spLocks noGrp="1"/>
          </p:cNvSpPr>
          <p:nvPr>
            <p:ph type="title"/>
          </p:nvPr>
        </p:nvSpPr>
        <p:spPr bwMode="gray">
          <a:xfrm>
            <a:off x="334434" y="549275"/>
            <a:ext cx="11523133" cy="863600"/>
          </a:xfrm>
        </p:spPr>
        <p:txBody>
          <a:bodyPr/>
          <a:lstStyle/>
          <a:p>
            <a:r>
              <a:rPr lang="de-DE" noProof="0"/>
              <a:t>Titelmasterformat durch Klicken bearbeiten</a:t>
            </a:r>
            <a:endParaRPr lang="de-DE" noProof="0" dirty="0"/>
          </a:p>
        </p:txBody>
      </p:sp>
      <p:sp>
        <p:nvSpPr>
          <p:cNvPr id="20" name="Textplatzhalter 19"/>
          <p:cNvSpPr>
            <a:spLocks noGrp="1"/>
          </p:cNvSpPr>
          <p:nvPr>
            <p:ph type="body" sz="quarter" idx="13"/>
          </p:nvPr>
        </p:nvSpPr>
        <p:spPr bwMode="gray">
          <a:xfrm>
            <a:off x="334434" y="1773262"/>
            <a:ext cx="11523133" cy="4464050"/>
          </a:xfrm>
        </p:spPr>
        <p:txBody>
          <a:bodyPr/>
          <a:lstStyle>
            <a:lvl5pPr>
              <a:defRPr/>
            </a:lvl5pPr>
            <a:lvl6pPr>
              <a:buClr>
                <a:schemeClr val="accent1"/>
              </a:buClr>
              <a:defRPr/>
            </a:lvl6pPr>
            <a:lvl7pPr>
              <a:buClr>
                <a:schemeClr val="accent1"/>
              </a:buClr>
              <a:defRPr/>
            </a:lvl7pPr>
            <a:lvl8pPr>
              <a:buClr>
                <a:schemeClr val="accent1"/>
              </a:buClr>
              <a:defRPr/>
            </a:lvl8pPr>
            <a:lvl9pPr>
              <a:buClr>
                <a:schemeClr val="accent1"/>
              </a:buClr>
              <a:buFont typeface="Arial" pitchFamily="34" charset="0"/>
              <a:buChar char="•"/>
              <a:defRPr/>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6" name="Rechteck 5">
            <a:hlinkClick r:id="" action="ppaction://hlinkshowjump?jump=firstslide"/>
          </p:cNvPr>
          <p:cNvSpPr/>
          <p:nvPr userDrawn="1"/>
        </p:nvSpPr>
        <p:spPr bwMode="gray">
          <a:xfrm>
            <a:off x="9456374" y="260648"/>
            <a:ext cx="2401193"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rgbClr val="040404"/>
              </a:solidFill>
            </a:endParaRPr>
          </a:p>
        </p:txBody>
      </p:sp>
      <p:sp>
        <p:nvSpPr>
          <p:cNvPr id="7" name="Rechteck 6">
            <a:hlinkClick r:id="" action="ppaction://hlinkshowjump?jump=firstslide"/>
          </p:cNvPr>
          <p:cNvSpPr/>
          <p:nvPr userDrawn="1"/>
        </p:nvSpPr>
        <p:spPr bwMode="gray">
          <a:xfrm>
            <a:off x="9456374" y="260648"/>
            <a:ext cx="2401193"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a:solidFill>
                <a:srgbClr val="040404"/>
              </a:solidFill>
            </a:endParaRPr>
          </a:p>
        </p:txBody>
      </p:sp>
      <p:sp>
        <p:nvSpPr>
          <p:cNvPr id="9" name="Rechteck 8">
            <a:hlinkClick r:id="" action="ppaction://hlinkshowjump?jump=firstslide"/>
          </p:cNvPr>
          <p:cNvSpPr/>
          <p:nvPr userDrawn="1">
            <p:custDataLst>
              <p:tags r:id="rId1"/>
            </p:custDataLst>
          </p:nvPr>
        </p:nvSpPr>
        <p:spPr bwMode="gray">
          <a:xfrm>
            <a:off x="9264353" y="260648"/>
            <a:ext cx="2593215"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rgbClr val="040404"/>
              </a:solidFill>
            </a:endParaRPr>
          </a:p>
        </p:txBody>
      </p:sp>
    </p:spTree>
    <p:extLst>
      <p:ext uri="{BB962C8B-B14F-4D97-AF65-F5344CB8AC3E}">
        <p14:creationId xmlns:p14="http://schemas.microsoft.com/office/powerpoint/2010/main" val="133214080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12" name="Titel 11"/>
          <p:cNvSpPr>
            <a:spLocks noGrp="1"/>
          </p:cNvSpPr>
          <p:nvPr>
            <p:ph type="title"/>
          </p:nvPr>
        </p:nvSpPr>
        <p:spPr bwMode="gray">
          <a:xfrm>
            <a:off x="334434" y="549275"/>
            <a:ext cx="11523133" cy="863600"/>
          </a:xfrm>
        </p:spPr>
        <p:txBody>
          <a:bodyPr/>
          <a:lstStyle/>
          <a:p>
            <a:r>
              <a:rPr lang="de-DE"/>
              <a:t>Titelmasterformat durch Klicken bearbeiten</a:t>
            </a:r>
            <a:endParaRPr lang="de-DE" dirty="0"/>
          </a:p>
        </p:txBody>
      </p:sp>
      <p:sp>
        <p:nvSpPr>
          <p:cNvPr id="6" name="Rechteck 5">
            <a:hlinkClick r:id="" action="ppaction://hlinkshowjump?jump=firstslide"/>
          </p:cNvPr>
          <p:cNvSpPr/>
          <p:nvPr userDrawn="1"/>
        </p:nvSpPr>
        <p:spPr bwMode="gray">
          <a:xfrm>
            <a:off x="9456374" y="260648"/>
            <a:ext cx="2401193"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rgbClr val="040404"/>
              </a:solidFill>
            </a:endParaRPr>
          </a:p>
        </p:txBody>
      </p:sp>
      <p:sp>
        <p:nvSpPr>
          <p:cNvPr id="7" name="Rechteck 6">
            <a:hlinkClick r:id="" action="ppaction://hlinkshowjump?jump=firstslide"/>
          </p:cNvPr>
          <p:cNvSpPr/>
          <p:nvPr userDrawn="1"/>
        </p:nvSpPr>
        <p:spPr bwMode="gray">
          <a:xfrm>
            <a:off x="9456374" y="260648"/>
            <a:ext cx="2401193"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rgbClr val="040404"/>
              </a:solidFill>
            </a:endParaRPr>
          </a:p>
        </p:txBody>
      </p:sp>
      <p:sp>
        <p:nvSpPr>
          <p:cNvPr id="8" name="Rechteck 7">
            <a:hlinkClick r:id="" action="ppaction://hlinkshowjump?jump=firstslide"/>
          </p:cNvPr>
          <p:cNvSpPr/>
          <p:nvPr userDrawn="1">
            <p:custDataLst>
              <p:tags r:id="rId1"/>
            </p:custDataLst>
          </p:nvPr>
        </p:nvSpPr>
        <p:spPr bwMode="gray">
          <a:xfrm>
            <a:off x="9264353" y="260648"/>
            <a:ext cx="2593215"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rgbClr val="040404"/>
              </a:solidFill>
            </a:endParaRPr>
          </a:p>
        </p:txBody>
      </p:sp>
    </p:spTree>
    <p:extLst>
      <p:ext uri="{BB962C8B-B14F-4D97-AF65-F5344CB8AC3E}">
        <p14:creationId xmlns:p14="http://schemas.microsoft.com/office/powerpoint/2010/main" val="221986779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Arial" panose="020B0604020202020204" pitchFamily="34" charset="0"/>
                <a:cs typeface="Arial"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666113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1141"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7" name="Foliennummernplatzhalter 16"/>
          <p:cNvSpPr>
            <a:spLocks noGrp="1"/>
          </p:cNvSpPr>
          <p:nvPr>
            <p:ph type="sldNum" sz="quarter" idx="17"/>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10" name="Textplatzhalter 15">
            <a:extLst>
              <a:ext uri="{FF2B5EF4-FFF2-40B4-BE49-F238E27FC236}">
                <a16:creationId xmlns:a16="http://schemas.microsoft.com/office/drawing/2014/main" id="{616C383F-4C26-3742-8E54-12A54343F08C}"/>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prstClr val="black"/>
            </a:outerShdw>
          </a:effectLst>
        </p:spPr>
        <p:txBody>
          <a:bodyPr wrap="square" lIns="262800" rIns="144000" bIns="208800">
            <a:spAutoFit/>
          </a:bodyPr>
          <a:lstStyle>
            <a:lvl1pPr algn="l">
              <a:lnSpc>
                <a:spcPct val="100000"/>
              </a:lnSpc>
              <a:spcBef>
                <a:spcPts val="0"/>
              </a:spcBef>
              <a:defRPr sz="2800" cap="all" spc="-70"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err="1"/>
              <a:t>KApitel</a:t>
            </a:r>
            <a:endParaRPr lang="de-DE" dirty="0"/>
          </a:p>
        </p:txBody>
      </p:sp>
    </p:spTree>
    <p:extLst>
      <p:ext uri="{BB962C8B-B14F-4D97-AF65-F5344CB8AC3E}">
        <p14:creationId xmlns:p14="http://schemas.microsoft.com/office/powerpoint/2010/main" val="41296942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Einstiegsfolie_Bild hoch 50%">
    <p:spTree>
      <p:nvGrpSpPr>
        <p:cNvPr id="1" name=""/>
        <p:cNvGrpSpPr/>
        <p:nvPr/>
      </p:nvGrpSpPr>
      <p:grpSpPr>
        <a:xfrm>
          <a:off x="0" y="0"/>
          <a:ext cx="0" cy="0"/>
          <a:chOff x="0" y="0"/>
          <a:chExt cx="0" cy="0"/>
        </a:xfrm>
      </p:grpSpPr>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4" name="Bildplatzhalter 13"/>
          <p:cNvSpPr>
            <a:spLocks noGrp="1"/>
          </p:cNvSpPr>
          <p:nvPr>
            <p:ph type="pic" sz="quarter" idx="17"/>
          </p:nvPr>
        </p:nvSpPr>
        <p:spPr>
          <a:xfrm>
            <a:off x="6020795" y="0"/>
            <a:ext cx="6171205" cy="6858000"/>
          </a:xfrm>
          <a:solidFill>
            <a:schemeClr val="bg2"/>
          </a:solidFill>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a:t>Bild durch Klicken auf Symbol hinzufügen</a:t>
            </a:r>
            <a:endParaRPr lang="de-DE" dirty="0"/>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605414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759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54"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1966051" y="4728545"/>
            <a:ext cx="3744000" cy="640175"/>
          </a:xfrm>
        </p:spPr>
        <p:txBody>
          <a:bodyPr wrap="square" anchor="b">
            <a:spAutoFit/>
          </a:bodyPr>
          <a:lstStyle>
            <a:lvl1pPr>
              <a:lnSpc>
                <a:spcPct val="130000"/>
              </a:lnSpc>
              <a:spcBef>
                <a:spcPts val="0"/>
              </a:spcBef>
              <a:defRPr sz="16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1966051" y="6207115"/>
            <a:ext cx="3949929" cy="246221"/>
          </a:xfrm>
        </p:spPr>
        <p:txBody>
          <a:bodyPr wrap="square" anchor="b">
            <a:sp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Location,</a:t>
            </a:r>
          </a:p>
        </p:txBody>
      </p:sp>
      <p:sp>
        <p:nvSpPr>
          <p:cNvPr id="21" name="object 6">
            <a:extLst>
              <a:ext uri="{FF2B5EF4-FFF2-40B4-BE49-F238E27FC236}">
                <a16:creationId xmlns:a16="http://schemas.microsoft.com/office/drawing/2014/main" id="{7A6E9864-542A-6F4C-965E-7D2AEBA2E01D}"/>
              </a:ext>
            </a:extLst>
          </p:cNvPr>
          <p:cNvSpPr/>
          <p:nvPr userDrawn="1"/>
        </p:nvSpPr>
        <p:spPr>
          <a:xfrm>
            <a:off x="1710074" y="1710000"/>
            <a:ext cx="45719" cy="514800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5" name="Textplatzhalter 15"/>
          <p:cNvSpPr>
            <a:spLocks noGrp="1"/>
          </p:cNvSpPr>
          <p:nvPr>
            <p:ph type="body" sz="quarter" idx="14" hasCustomPrompt="1"/>
          </p:nvPr>
        </p:nvSpPr>
        <p:spPr>
          <a:xfrm>
            <a:off x="-16405" y="944724"/>
            <a:ext cx="6037200" cy="2308324"/>
          </a:xfrm>
          <a:solidFill>
            <a:schemeClr val="tx2"/>
          </a:solidFill>
          <a:effectLst>
            <a:outerShdw dist="27940" dir="5400000" algn="t" rotWithShape="0">
              <a:prstClr val="black"/>
            </a:outerShdw>
          </a:effectLst>
        </p:spPr>
        <p:txBody>
          <a:bodyPr wrap="square" lIns="234000" rIns="144000" bIns="0">
            <a:spAutoFit/>
          </a:bodyPr>
          <a:lstStyle>
            <a:lvl1pPr algn="l">
              <a:lnSpc>
                <a:spcPct val="100000"/>
              </a:lnSpc>
              <a:spcBef>
                <a:spcPts val="0"/>
              </a:spcBef>
              <a:defRPr sz="50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itel durch klicken hinzufügen</a:t>
            </a:r>
          </a:p>
        </p:txBody>
      </p:sp>
      <p:sp>
        <p:nvSpPr>
          <p:cNvPr id="23" name="object 6">
            <a:extLst>
              <a:ext uri="{FF2B5EF4-FFF2-40B4-BE49-F238E27FC236}">
                <a16:creationId xmlns:a16="http://schemas.microsoft.com/office/drawing/2014/main" id="{35B15152-362B-804E-8180-EB8D98DF2756}"/>
              </a:ext>
            </a:extLst>
          </p:cNvPr>
          <p:cNvSpPr/>
          <p:nvPr userDrawn="1"/>
        </p:nvSpPr>
        <p:spPr>
          <a:xfrm>
            <a:off x="6032536" y="-6350"/>
            <a:ext cx="45719" cy="6864350"/>
          </a:xfrm>
          <a:custGeom>
            <a:avLst/>
            <a:gdLst/>
            <a:ahLst/>
            <a:cxnLst/>
            <a:rect l="l" t="t" r="r" b="b"/>
            <a:pathLst>
              <a:path h="4698365">
                <a:moveTo>
                  <a:pt x="0" y="0"/>
                </a:moveTo>
                <a:lnTo>
                  <a:pt x="0" y="4697996"/>
                </a:lnTo>
              </a:path>
            </a:pathLst>
          </a:custGeom>
          <a:ln w="25400">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6" name="Textplatzhalter 20">
            <a:extLst>
              <a:ext uri="{FF2B5EF4-FFF2-40B4-BE49-F238E27FC236}">
                <a16:creationId xmlns:a16="http://schemas.microsoft.com/office/drawing/2014/main" id="{154663BA-8C19-9E4F-A02C-E19A516A7AEC}"/>
              </a:ext>
            </a:extLst>
          </p:cNvPr>
          <p:cNvSpPr>
            <a:spLocks noGrp="1"/>
          </p:cNvSpPr>
          <p:nvPr>
            <p:ph type="body" sz="quarter" idx="16" hasCustomPrompt="1"/>
          </p:nvPr>
        </p:nvSpPr>
        <p:spPr>
          <a:xfrm>
            <a:off x="1966051" y="5877272"/>
            <a:ext cx="3950723" cy="246221"/>
          </a:xfrm>
        </p:spPr>
        <p:txBody>
          <a:bodyPr wrap="square" anchor="b">
            <a:sp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Name</a:t>
            </a:r>
          </a:p>
        </p:txBody>
      </p:sp>
      <p:sp>
        <p:nvSpPr>
          <p:cNvPr id="18" name="Datumsplatzhalter 4"/>
          <p:cNvSpPr>
            <a:spLocks noGrp="1"/>
          </p:cNvSpPr>
          <p:nvPr>
            <p:ph type="dt" sz="half" idx="2"/>
          </p:nvPr>
        </p:nvSpPr>
        <p:spPr>
          <a:xfrm>
            <a:off x="2827091" y="6207115"/>
            <a:ext cx="3088890" cy="246221"/>
          </a:xfrm>
          <a:prstGeom prst="rect">
            <a:avLst/>
          </a:prstGeom>
        </p:spPr>
        <p:txBody>
          <a:bodyPr vert="horz" lIns="0" tIns="0" rIns="0" bIns="0" rtlCol="0" anchor="b">
            <a:noAutofit/>
          </a:bodyPr>
          <a:lstStyle>
            <a:lvl1pPr algn="l">
              <a:defRPr sz="16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E109F8F6-A926-4250-8DE0-4DF4C44CB0CE}" type="datetime3">
              <a:rPr lang="en-GB" smtClean="0"/>
              <a:t>2 February, 2020</a:t>
            </a:fld>
            <a:endParaRPr lang="de-DE" dirty="0"/>
          </a:p>
        </p:txBody>
      </p:sp>
      <p:sp>
        <p:nvSpPr>
          <p:cNvPr id="17" name="Textfeld 16"/>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20" name="Textfeld 19"/>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22" name="Textfeld 21"/>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24" name="Textfeld 23"/>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grpSp>
        <p:nvGrpSpPr>
          <p:cNvPr id="25" name="Gruppieren 24"/>
          <p:cNvGrpSpPr/>
          <p:nvPr userDrawn="1"/>
        </p:nvGrpSpPr>
        <p:grpSpPr>
          <a:xfrm>
            <a:off x="-276708" y="-835143"/>
            <a:ext cx="12205181" cy="7972555"/>
            <a:chOff x="-276708" y="-835143"/>
            <a:chExt cx="12205181" cy="7972555"/>
          </a:xfrm>
        </p:grpSpPr>
        <p:cxnSp>
          <p:nvCxnSpPr>
            <p:cNvPr id="27"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0"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feld 50"/>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19907489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764558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6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11602810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71585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9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10411952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93164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29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5"/>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12" name="Textplatzhalter 15"/>
          <p:cNvSpPr>
            <a:spLocks noGrp="1"/>
          </p:cNvSpPr>
          <p:nvPr>
            <p:ph type="body" sz="quarter" idx="13" hasCustomPrompt="1"/>
          </p:nvPr>
        </p:nvSpPr>
        <p:spPr>
          <a:xfrm>
            <a:off x="0" y="910800"/>
            <a:ext cx="11928472" cy="991792"/>
          </a:xfrm>
          <a:solidFill>
            <a:schemeClr val="tx2"/>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ext bearbeiten</a:t>
            </a:r>
          </a:p>
        </p:txBody>
      </p:sp>
    </p:spTree>
    <p:extLst>
      <p:ext uri="{BB962C8B-B14F-4D97-AF65-F5344CB8AC3E}">
        <p14:creationId xmlns:p14="http://schemas.microsoft.com/office/powerpoint/2010/main" val="1712068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24841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21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40090650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452834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0874"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10551407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762308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23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42388198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3757603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20"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0800"/>
            <a:ext cx="11928472" cy="991792"/>
          </a:xfrm>
          <a:solidFill>
            <a:schemeClr val="bg1"/>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5"/>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050189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446660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01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20" name="Gerade Verbindung 19"/>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1"/>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9"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12" name="Textplatzhalter 14"/>
          <p:cNvSpPr>
            <a:spLocks noGrp="1"/>
          </p:cNvSpPr>
          <p:nvPr>
            <p:ph type="body" sz="quarter" idx="13"/>
          </p:nvPr>
        </p:nvSpPr>
        <p:spPr>
          <a:xfrm>
            <a:off x="263525" y="1058458"/>
            <a:ext cx="11449048" cy="5008968"/>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Tree>
    <p:extLst>
      <p:ext uri="{BB962C8B-B14F-4D97-AF65-F5344CB8AC3E}">
        <p14:creationId xmlns:p14="http://schemas.microsoft.com/office/powerpoint/2010/main" val="2509946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860553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96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20" name="Gerade Verbindung 19"/>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2">
            <a:extLst>
              <a:ext uri="{FF2B5EF4-FFF2-40B4-BE49-F238E27FC236}">
                <a16:creationId xmlns:a16="http://schemas.microsoft.com/office/drawing/2014/main" id="{3B32DA5B-3025-5D45-A927-BAED7D4FEB3A}"/>
              </a:ext>
            </a:extLst>
          </p:cNvPr>
          <p:cNvSpPr>
            <a:spLocks noGrp="1"/>
          </p:cNvSpPr>
          <p:nvPr>
            <p:ph idx="17" hasCustomPrompt="1"/>
          </p:nvPr>
        </p:nvSpPr>
        <p:spPr>
          <a:xfrm>
            <a:off x="263525" y="1052736"/>
            <a:ext cx="11448000" cy="346310"/>
          </a:xfrm>
          <a:prstGeom prst="rect">
            <a:avLst/>
          </a:prstGeom>
        </p:spPr>
        <p:txBody>
          <a:bodyPr vert="horz" lIns="0" tIns="0" rIns="0" bIns="0" rtlCol="0">
            <a:noAutofit/>
          </a:bodyPr>
          <a:lstStyle>
            <a:lvl1pPr>
              <a:defRPr>
                <a:solidFill>
                  <a:schemeClr val="tx1"/>
                </a:solidFill>
                <a:latin typeface="Arial" panose="020B0604020202020204" pitchFamily="34" charset="0"/>
                <a:cs typeface="Arial" panose="020B0604020202020204" pitchFamily="34" charset="0"/>
                <a:sym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
        <p:nvSpPr>
          <p:cNvPr id="2" name="Titel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9"/>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11"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12"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Tree>
    <p:extLst>
      <p:ext uri="{BB962C8B-B14F-4D97-AF65-F5344CB8AC3E}">
        <p14:creationId xmlns:p14="http://schemas.microsoft.com/office/powerpoint/2010/main" val="4375853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ext uri="{D42A27DB-BD31-4B8C-83A1-F6EECF244321}">
                <p14:modId xmlns:p14="http://schemas.microsoft.com/office/powerpoint/2010/main" val="21268719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46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Bildplatzhalter 5"/>
          <p:cNvSpPr>
            <a:spLocks noGrp="1"/>
          </p:cNvSpPr>
          <p:nvPr>
            <p:ph type="pic" sz="quarter" idx="12"/>
          </p:nvPr>
        </p:nvSpPr>
        <p:spPr>
          <a:xfrm>
            <a:off x="1" y="0"/>
            <a:ext cx="11928472" cy="6858000"/>
          </a:xfrm>
          <a:solidFill>
            <a:schemeClr val="bg2"/>
          </a:solidFill>
        </p:spPr>
        <p:txBody>
          <a:bodyPr lIns="72000" tIns="72000" rIns="72000" bIns="72000"/>
          <a:lstStyle>
            <a:lvl1pPr>
              <a:defRPr>
                <a:solidFill>
                  <a:schemeClr val="tx1"/>
                </a:solidFill>
              </a:defRPr>
            </a:lvl1pPr>
          </a:lstStyle>
          <a:p>
            <a:endParaRPr lang="de-DE" dirty="0"/>
          </a:p>
        </p:txBody>
      </p:sp>
      <p:sp>
        <p:nvSpPr>
          <p:cNvPr id="16" name="Textfeld 15"/>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3" name="Foliennummernplatzhalter 2"/>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1833767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instiegsfolie_Bild hoch 30%">
    <p:spTree>
      <p:nvGrpSpPr>
        <p:cNvPr id="1" name=""/>
        <p:cNvGrpSpPr/>
        <p:nvPr/>
      </p:nvGrpSpPr>
      <p:grpSpPr>
        <a:xfrm>
          <a:off x="0" y="0"/>
          <a:ext cx="0" cy="0"/>
          <a:chOff x="0" y="0"/>
          <a:chExt cx="0" cy="0"/>
        </a:xfrm>
      </p:grpSpPr>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3" name="Rechteck 2"/>
          <p:cNvSpPr/>
          <p:nvPr userDrawn="1"/>
        </p:nvSpPr>
        <p:spPr>
          <a:xfrm>
            <a:off x="8004212" y="0"/>
            <a:ext cx="3924261" cy="3140968"/>
          </a:xfrm>
          <a:prstGeom prst="rect">
            <a:avLst/>
          </a:prstGeom>
          <a:solidFill>
            <a:schemeClr val="bg1"/>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indent="-216000" algn="l">
              <a:buFont typeface="Arial" panose="020B0604020202020204" pitchFamily="34" charset="0"/>
              <a:buChar char="•"/>
            </a:pPr>
            <a:endParaRPr lang="de-DE" sz="1600" dirty="0" err="1">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265564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8614"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54"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1966051" y="5048632"/>
            <a:ext cx="5724000" cy="320088"/>
          </a:xfrm>
        </p:spPr>
        <p:txBody>
          <a:bodyPr wrap="square" anchor="b">
            <a:spAutoFit/>
          </a:bodyPr>
          <a:lstStyle>
            <a:lvl1pPr>
              <a:lnSpc>
                <a:spcPct val="130000"/>
              </a:lnSpc>
              <a:spcBef>
                <a:spcPts val="0"/>
              </a:spcBef>
              <a:defRPr sz="16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1966051" y="6207115"/>
            <a:ext cx="3950723" cy="246221"/>
          </a:xfrm>
        </p:spPr>
        <p:txBody>
          <a:bodyPr wrap="square" anchor="b">
            <a:sp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Location,</a:t>
            </a: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21" name="object 6">
            <a:extLst>
              <a:ext uri="{FF2B5EF4-FFF2-40B4-BE49-F238E27FC236}">
                <a16:creationId xmlns:a16="http://schemas.microsoft.com/office/drawing/2014/main" id="{7A6E9864-542A-6F4C-965E-7D2AEBA2E01D}"/>
              </a:ext>
            </a:extLst>
          </p:cNvPr>
          <p:cNvSpPr/>
          <p:nvPr userDrawn="1"/>
        </p:nvSpPr>
        <p:spPr>
          <a:xfrm>
            <a:off x="1710074" y="1674000"/>
            <a:ext cx="45719" cy="518400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4" name="Bildplatzhalter 13"/>
          <p:cNvSpPr>
            <a:spLocks noGrp="1"/>
          </p:cNvSpPr>
          <p:nvPr>
            <p:ph type="pic" sz="quarter" idx="17"/>
          </p:nvPr>
        </p:nvSpPr>
        <p:spPr>
          <a:xfrm>
            <a:off x="7915200" y="0"/>
            <a:ext cx="4276800" cy="6858000"/>
          </a:xfrm>
          <a:solidFill>
            <a:schemeClr val="bg2"/>
          </a:solidFill>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a:t>Bild durch Klicken auf Symbol hinzufügen</a:t>
            </a:r>
            <a:endParaRPr lang="de-DE" dirty="0"/>
          </a:p>
        </p:txBody>
      </p:sp>
      <p:sp>
        <p:nvSpPr>
          <p:cNvPr id="23" name="object 6">
            <a:extLst>
              <a:ext uri="{FF2B5EF4-FFF2-40B4-BE49-F238E27FC236}">
                <a16:creationId xmlns:a16="http://schemas.microsoft.com/office/drawing/2014/main" id="{35B15152-362B-804E-8180-EB8D98DF2756}"/>
              </a:ext>
            </a:extLst>
          </p:cNvPr>
          <p:cNvSpPr/>
          <p:nvPr userDrawn="1"/>
        </p:nvSpPr>
        <p:spPr>
          <a:xfrm>
            <a:off x="7897200" y="-6350"/>
            <a:ext cx="45719" cy="6864350"/>
          </a:xfrm>
          <a:custGeom>
            <a:avLst/>
            <a:gdLst/>
            <a:ahLst/>
            <a:cxnLst/>
            <a:rect l="l" t="t" r="r" b="b"/>
            <a:pathLst>
              <a:path h="4698365">
                <a:moveTo>
                  <a:pt x="0" y="0"/>
                </a:moveTo>
                <a:lnTo>
                  <a:pt x="0" y="4697996"/>
                </a:lnTo>
              </a:path>
            </a:pathLst>
          </a:custGeom>
          <a:ln w="25400">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5" name="Textplatzhalter 15"/>
          <p:cNvSpPr>
            <a:spLocks noGrp="1"/>
          </p:cNvSpPr>
          <p:nvPr>
            <p:ph type="body" sz="quarter" idx="14" hasCustomPrompt="1"/>
          </p:nvPr>
        </p:nvSpPr>
        <p:spPr>
          <a:xfrm>
            <a:off x="-16405" y="944724"/>
            <a:ext cx="7902000" cy="1538883"/>
          </a:xfrm>
          <a:solidFill>
            <a:schemeClr val="tx2"/>
          </a:solidFill>
          <a:effectLst>
            <a:outerShdw dist="27940" dir="5400000" algn="t" rotWithShape="0">
              <a:prstClr val="black"/>
            </a:outerShdw>
          </a:effectLst>
        </p:spPr>
        <p:txBody>
          <a:bodyPr wrap="square" lIns="234000" rIns="144000" bIns="0">
            <a:spAutoFit/>
          </a:bodyPr>
          <a:lstStyle>
            <a:lvl1pPr algn="l">
              <a:lnSpc>
                <a:spcPct val="100000"/>
              </a:lnSpc>
              <a:spcBef>
                <a:spcPts val="0"/>
              </a:spcBef>
              <a:defRPr sz="50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itel durch klicken hinzufügen</a:t>
            </a:r>
          </a:p>
        </p:txBody>
      </p:sp>
      <p:sp>
        <p:nvSpPr>
          <p:cNvPr id="17" name="Textplatzhalter 20">
            <a:extLst>
              <a:ext uri="{FF2B5EF4-FFF2-40B4-BE49-F238E27FC236}">
                <a16:creationId xmlns:a16="http://schemas.microsoft.com/office/drawing/2014/main" id="{933EB4BE-B7DA-FF4C-B744-5423D0C89B33}"/>
              </a:ext>
            </a:extLst>
          </p:cNvPr>
          <p:cNvSpPr>
            <a:spLocks noGrp="1"/>
          </p:cNvSpPr>
          <p:nvPr>
            <p:ph type="body" sz="quarter" idx="16" hasCustomPrompt="1"/>
          </p:nvPr>
        </p:nvSpPr>
        <p:spPr>
          <a:xfrm>
            <a:off x="1966051" y="5877272"/>
            <a:ext cx="3950723" cy="246221"/>
          </a:xfrm>
        </p:spPr>
        <p:txBody>
          <a:bodyPr wrap="square" anchor="b">
            <a:sp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Name</a:t>
            </a:r>
          </a:p>
        </p:txBody>
      </p:sp>
      <p:sp>
        <p:nvSpPr>
          <p:cNvPr id="18" name="Datumsplatzhalter 4"/>
          <p:cNvSpPr>
            <a:spLocks noGrp="1"/>
          </p:cNvSpPr>
          <p:nvPr>
            <p:ph type="dt" sz="half" idx="2"/>
          </p:nvPr>
        </p:nvSpPr>
        <p:spPr>
          <a:xfrm>
            <a:off x="2818701" y="6207115"/>
            <a:ext cx="3098073" cy="246221"/>
          </a:xfrm>
          <a:prstGeom prst="rect">
            <a:avLst/>
          </a:prstGeom>
        </p:spPr>
        <p:txBody>
          <a:bodyPr vert="horz" lIns="0" tIns="0" rIns="0" bIns="0" rtlCol="0" anchor="b">
            <a:noAutofit/>
          </a:bodyPr>
          <a:lstStyle>
            <a:lvl1pPr algn="l">
              <a:defRPr sz="16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E366F39A-0BEA-4946-9546-4A50BF1F501B}" type="datetime3">
              <a:rPr lang="en-GB" smtClean="0"/>
              <a:t>2 February, 2020</a:t>
            </a:fld>
            <a:endParaRPr lang="de-DE" dirty="0"/>
          </a:p>
        </p:txBody>
      </p:sp>
      <p:sp>
        <p:nvSpPr>
          <p:cNvPr id="16" name="Textfeld 15"/>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20" name="Textfeld 19"/>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22" name="Textfeld 21"/>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24" name="Textfeld 23"/>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grpSp>
        <p:nvGrpSpPr>
          <p:cNvPr id="25" name="Gruppieren 24"/>
          <p:cNvGrpSpPr/>
          <p:nvPr userDrawn="1"/>
        </p:nvGrpSpPr>
        <p:grpSpPr>
          <a:xfrm>
            <a:off x="-276708" y="-835143"/>
            <a:ext cx="12205181" cy="7972555"/>
            <a:chOff x="-276708" y="-835143"/>
            <a:chExt cx="12205181" cy="7972555"/>
          </a:xfrm>
        </p:grpSpPr>
        <p:cxnSp>
          <p:nvCxnSpPr>
            <p:cNvPr id="27"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0"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feld 50"/>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24352844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22551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6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6852620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698584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09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3014085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992757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742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1027439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015353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985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164958817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65454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634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257770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253675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521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10395671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835273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623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177569649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52690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357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18079461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922877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3946"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29350248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295239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135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6152638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instiegsfolie_Bild quer 40%">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0016001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963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6600"/>
              </a:lnSpc>
              <a:spcBef>
                <a:spcPct val="0"/>
              </a:spcBef>
              <a:spcAft>
                <a:spcPct val="0"/>
              </a:spcAft>
              <a:buFontTx/>
              <a:buNone/>
            </a:pPr>
            <a:endParaRPr lang="de-DE" sz="50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2" name="Titel 1"/>
          <p:cNvSpPr>
            <a:spLocks noGrp="1"/>
          </p:cNvSpPr>
          <p:nvPr>
            <p:ph type="title" hasCustomPrompt="1"/>
          </p:nvPr>
        </p:nvSpPr>
        <p:spPr>
          <a:xfrm>
            <a:off x="263524" y="1134800"/>
            <a:ext cx="11664951" cy="892721"/>
          </a:xfrm>
        </p:spPr>
        <p:txBody>
          <a:bodyPr anchor="t"/>
          <a:lstStyle>
            <a:lvl1pPr>
              <a:lnSpc>
                <a:spcPts val="6600"/>
              </a:lnSpc>
              <a:defRPr sz="50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de-DE" dirty="0"/>
              <a:t>Titel der </a:t>
            </a:r>
            <a:r>
              <a:rPr lang="de-DE" dirty="0" err="1"/>
              <a:t>präsentation</a:t>
            </a:r>
            <a:endParaRPr lang="en-US" dirty="0"/>
          </a:p>
        </p:txBody>
      </p:sp>
      <p:pic>
        <p:nvPicPr>
          <p:cNvPr id="6154"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264050" y="2566111"/>
            <a:ext cx="3744388" cy="640175"/>
          </a:xfrm>
        </p:spPr>
        <p:txBody>
          <a:bodyPr wrap="square" anchor="b" anchorCtr="0">
            <a:spAutoFit/>
          </a:bodyPr>
          <a:lstStyle>
            <a:lvl1pPr>
              <a:lnSpc>
                <a:spcPct val="130000"/>
              </a:lnSpc>
              <a:spcBef>
                <a:spcPts val="0"/>
              </a:spcBef>
              <a:defRPr sz="16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4284804" y="2960065"/>
            <a:ext cx="7453312" cy="246221"/>
          </a:xfrm>
        </p:spPr>
        <p:txBody>
          <a:bodyPr wrap="square" anchor="b">
            <a:sp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Location,</a:t>
            </a: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4" name="Bildplatzhalter 13"/>
          <p:cNvSpPr>
            <a:spLocks noGrp="1"/>
          </p:cNvSpPr>
          <p:nvPr>
            <p:ph type="pic" sz="quarter" idx="17"/>
          </p:nvPr>
        </p:nvSpPr>
        <p:spPr>
          <a:xfrm>
            <a:off x="3176" y="3546000"/>
            <a:ext cx="12189618" cy="3312000"/>
          </a:xfrm>
          <a:solidFill>
            <a:schemeClr val="bg2"/>
          </a:solidFill>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a:t>Bild durch Klicken auf Symbol hinzufügen</a:t>
            </a:r>
            <a:endParaRPr lang="de-DE" dirty="0"/>
          </a:p>
        </p:txBody>
      </p:sp>
      <p:sp>
        <p:nvSpPr>
          <p:cNvPr id="31" name="object 5">
            <a:extLst>
              <a:ext uri="{FF2B5EF4-FFF2-40B4-BE49-F238E27FC236}">
                <a16:creationId xmlns:a16="http://schemas.microsoft.com/office/drawing/2014/main" id="{E53813C0-5592-A544-AC61-84B1689DD6BA}"/>
              </a:ext>
            </a:extLst>
          </p:cNvPr>
          <p:cNvSpPr/>
          <p:nvPr userDrawn="1"/>
        </p:nvSpPr>
        <p:spPr>
          <a:xfrm>
            <a:off x="0" y="2027521"/>
            <a:ext cx="12192635" cy="0"/>
          </a:xfrm>
          <a:custGeom>
            <a:avLst/>
            <a:gdLst/>
            <a:ahLst/>
            <a:cxnLst/>
            <a:rect l="l" t="t" r="r" b="b"/>
            <a:pathLst>
              <a:path w="12192635">
                <a:moveTo>
                  <a:pt x="0" y="0"/>
                </a:moveTo>
                <a:lnTo>
                  <a:pt x="12192113" y="0"/>
                </a:lnTo>
              </a:path>
            </a:pathLst>
          </a:custGeom>
          <a:ln w="25400">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32" name="object 6">
            <a:extLst>
              <a:ext uri="{FF2B5EF4-FFF2-40B4-BE49-F238E27FC236}">
                <a16:creationId xmlns:a16="http://schemas.microsoft.com/office/drawing/2014/main" id="{7A6E9864-542A-6F4C-965E-7D2AEBA2E01D}"/>
              </a:ext>
            </a:extLst>
          </p:cNvPr>
          <p:cNvSpPr/>
          <p:nvPr userDrawn="1"/>
        </p:nvSpPr>
        <p:spPr>
          <a:xfrm flipH="1">
            <a:off x="4041788" y="2027521"/>
            <a:ext cx="45719" cy="1509479"/>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33" name="object 5">
            <a:extLst>
              <a:ext uri="{FF2B5EF4-FFF2-40B4-BE49-F238E27FC236}">
                <a16:creationId xmlns:a16="http://schemas.microsoft.com/office/drawing/2014/main" id="{015ACE90-02E3-8C47-94C3-2D89724CC019}"/>
              </a:ext>
            </a:extLst>
          </p:cNvPr>
          <p:cNvSpPr/>
          <p:nvPr userDrawn="1"/>
        </p:nvSpPr>
        <p:spPr>
          <a:xfrm>
            <a:off x="-637" y="3537000"/>
            <a:ext cx="12192635" cy="0"/>
          </a:xfrm>
          <a:custGeom>
            <a:avLst/>
            <a:gdLst/>
            <a:ahLst/>
            <a:cxnLst/>
            <a:rect l="l" t="t" r="r" b="b"/>
            <a:pathLst>
              <a:path w="12192635">
                <a:moveTo>
                  <a:pt x="0" y="0"/>
                </a:moveTo>
                <a:lnTo>
                  <a:pt x="12192113" y="0"/>
                </a:lnTo>
              </a:path>
            </a:pathLst>
          </a:custGeom>
          <a:ln w="25400">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6" name="Textplatzhalter 20">
            <a:extLst>
              <a:ext uri="{FF2B5EF4-FFF2-40B4-BE49-F238E27FC236}">
                <a16:creationId xmlns:a16="http://schemas.microsoft.com/office/drawing/2014/main" id="{A4C3430A-7E32-784A-A054-05C3781007FF}"/>
              </a:ext>
            </a:extLst>
          </p:cNvPr>
          <p:cNvSpPr>
            <a:spLocks noGrp="1"/>
          </p:cNvSpPr>
          <p:nvPr>
            <p:ph type="body" sz="quarter" idx="16" hasCustomPrompt="1"/>
          </p:nvPr>
        </p:nvSpPr>
        <p:spPr>
          <a:xfrm>
            <a:off x="4281488" y="2626341"/>
            <a:ext cx="7453313" cy="246221"/>
          </a:xfrm>
        </p:spPr>
        <p:txBody>
          <a:bodyPr wrap="square" anchor="b">
            <a:no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Name</a:t>
            </a:r>
          </a:p>
        </p:txBody>
      </p:sp>
      <p:sp>
        <p:nvSpPr>
          <p:cNvPr id="17" name="Datumsplatzhalter 4"/>
          <p:cNvSpPr>
            <a:spLocks noGrp="1"/>
          </p:cNvSpPr>
          <p:nvPr>
            <p:ph type="dt" sz="half" idx="2"/>
          </p:nvPr>
        </p:nvSpPr>
        <p:spPr>
          <a:xfrm>
            <a:off x="5125673" y="2956184"/>
            <a:ext cx="3106413" cy="246221"/>
          </a:xfrm>
          <a:prstGeom prst="rect">
            <a:avLst/>
          </a:prstGeom>
        </p:spPr>
        <p:txBody>
          <a:bodyPr vert="horz" lIns="0" tIns="0" rIns="0" bIns="0" rtlCol="0" anchor="b">
            <a:noAutofit/>
          </a:bodyPr>
          <a:lstStyle>
            <a:lvl1pPr algn="l">
              <a:defRPr sz="16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3A60ACC0-667F-4D94-9ED6-FF95D0D80A5E}" type="datetime3">
              <a:rPr lang="en-GB" smtClean="0"/>
              <a:t>2 February, 2020</a:t>
            </a:fld>
            <a:endParaRPr lang="de-DE" dirty="0"/>
          </a:p>
        </p:txBody>
      </p:sp>
      <p:sp>
        <p:nvSpPr>
          <p:cNvPr id="18" name="Textfeld 17"/>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20" name="Textfeld 19"/>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21" name="Textfeld 20"/>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22" name="Textfeld 21"/>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grpSp>
        <p:nvGrpSpPr>
          <p:cNvPr id="23" name="Gruppieren 22"/>
          <p:cNvGrpSpPr/>
          <p:nvPr userDrawn="1"/>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Gerade Verbindung mit Pfeil 29"/>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0"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1"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feld 51"/>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11280825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85651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379"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9592047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964778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9715"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20869700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737880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7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49531011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25843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838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4827681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603843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075"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7928733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618781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098"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16361174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145330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994"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8822861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590601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4291"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6010747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9026195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6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415478887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495892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750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18651323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301183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451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hteck 12"/>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8" name="Gerade Verbindung 7"/>
          <p:cNvCxnSpPr/>
          <p:nvPr userDrawn="1"/>
        </p:nvCxnSpPr>
        <p:spPr>
          <a:xfrm>
            <a:off x="-1" y="900000"/>
            <a:ext cx="12204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5988050" y="918000"/>
            <a:ext cx="0" cy="5940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a:t>Titelmasterformat durch Klicken bearbeiten</a:t>
            </a:r>
            <a:endParaRPr lang="de-DE" dirty="0"/>
          </a:p>
        </p:txBody>
      </p:sp>
    </p:spTree>
    <p:extLst>
      <p:ext uri="{BB962C8B-B14F-4D97-AF65-F5344CB8AC3E}">
        <p14:creationId xmlns:p14="http://schemas.microsoft.com/office/powerpoint/2010/main" val="14865541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9751707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8523"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22449550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270308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5859"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185682463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665050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7018"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21845590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955312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941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72275699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137916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003"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187869758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8515868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042"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19547090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645189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0090"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50819756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638408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1114"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128424786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2259"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6858000"/>
          </a:xfrm>
          <a:prstGeom prst="rect">
            <a:avLst/>
          </a:prstGeom>
          <a:solidFill>
            <a:srgbClr val="FFF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rgbClr val="FFFC00"/>
          </a:solidFill>
          <a:effectLst>
            <a:outerShdw dist="27940" dir="5400000" algn="t" rotWithShape="0">
              <a:schemeClr val="tx1"/>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fld id="{4CFEB0D3-1EB3-4F08-8062-95FFB9749870}" type="slidenum">
              <a:rPr lang="de-DE" smtClean="0"/>
              <a:pPr/>
              <a:t>‹#›</a:t>
            </a:fld>
            <a:endParaRPr lang="de-DE" dirty="0"/>
          </a:p>
        </p:txBody>
      </p:sp>
      <p:sp>
        <p:nvSpPr>
          <p:cNvPr id="16"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7"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Tree>
    <p:extLst>
      <p:ext uri="{BB962C8B-B14F-4D97-AF65-F5344CB8AC3E}">
        <p14:creationId xmlns:p14="http://schemas.microsoft.com/office/powerpoint/2010/main" val="288223867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3283"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1842518"/>
          </a:xfrm>
          <a:prstGeom prst="rect">
            <a:avLst/>
          </a:prstGeom>
          <a:solidFill>
            <a:srgbClr val="FFF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rgbClr val="FFFC00"/>
          </a:solidFill>
          <a:effectLst>
            <a:outerShdw dist="27940" dir="5400000" algn="t" rotWithShape="0">
              <a:schemeClr val="tx1"/>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fld id="{4CFEB0D3-1EB3-4F08-8062-95FFB9749870}" type="slidenum">
              <a:rPr lang="de-DE" smtClean="0"/>
              <a:pPr/>
              <a:t>‹#›</a:t>
            </a:fld>
            <a:endParaRPr lang="de-DE" dirty="0"/>
          </a:p>
        </p:txBody>
      </p:sp>
      <p:sp>
        <p:nvSpPr>
          <p:cNvPr id="16"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7"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Tree>
    <p:extLst>
      <p:ext uri="{BB962C8B-B14F-4D97-AF65-F5344CB8AC3E}">
        <p14:creationId xmlns:p14="http://schemas.microsoft.com/office/powerpoint/2010/main" val="13005660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Arial" panose="020B0604020202020204" pitchFamily="34" charset="0"/>
                <a:cs typeface="Arial"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1132135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090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23977" y="3302606"/>
            <a:ext cx="6881442"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7" name="Foliennummernplatzhalter 16"/>
          <p:cNvSpPr>
            <a:spLocks noGrp="1"/>
          </p:cNvSpPr>
          <p:nvPr>
            <p:ph type="sldNum" sz="quarter" idx="17"/>
          </p:nvPr>
        </p:nvSpPr>
        <p:spPr>
          <a:xfrm>
            <a:off x="11928648" y="6453187"/>
            <a:ext cx="263350" cy="404813"/>
          </a:xfrm>
          <a:prstGeom prst="rect">
            <a:avLst/>
          </a:prstGeom>
        </p:spPr>
        <p:txBody>
          <a:bodyPr lIns="0" tIns="0" rIns="0" bIns="0" anchor="ctr" anchorCtr="0"/>
          <a:lstStyle>
            <a:lvl1pPr algn="ctr">
              <a:defRPr sz="110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14" name="Textplatzhalter 15">
            <a:extLst>
              <a:ext uri="{FF2B5EF4-FFF2-40B4-BE49-F238E27FC236}">
                <a16:creationId xmlns:a16="http://schemas.microsoft.com/office/drawing/2014/main" id="{1A835BE2-55CD-2A46-97A5-3378A6C95F22}"/>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prstClr val="black"/>
            </a:outerShdw>
          </a:effectLst>
        </p:spPr>
        <p:txBody>
          <a:bodyPr wrap="square" lIns="262800" rIns="144000" bIns="208800">
            <a:spAutoFit/>
          </a:bodyPr>
          <a:lstStyle>
            <a:lvl1pPr algn="l">
              <a:lnSpc>
                <a:spcPct val="100000"/>
              </a:lnSpc>
              <a:spcBef>
                <a:spcPts val="0"/>
              </a:spcBef>
              <a:defRPr sz="2800" cap="all" spc="-70"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err="1"/>
              <a:t>KApitel</a:t>
            </a:r>
            <a:endParaRPr lang="de-DE" dirty="0"/>
          </a:p>
        </p:txBody>
      </p:sp>
    </p:spTree>
    <p:extLst>
      <p:ext uri="{BB962C8B-B14F-4D97-AF65-F5344CB8AC3E}">
        <p14:creationId xmlns:p14="http://schemas.microsoft.com/office/powerpoint/2010/main" val="274723553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4307"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764704"/>
          </a:xfrm>
          <a:prstGeom prst="rect">
            <a:avLst/>
          </a:prstGeom>
          <a:solidFill>
            <a:srgbClr val="FFF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fld id="{4CFEB0D3-1EB3-4F08-8062-95FFB9749870}" type="slidenum">
              <a:rPr lang="de-DE" smtClean="0"/>
              <a:pPr/>
              <a:t>‹#›</a:t>
            </a:fld>
            <a:endParaRPr lang="de-DE" dirty="0"/>
          </a:p>
        </p:txBody>
      </p:sp>
      <p:sp>
        <p:nvSpPr>
          <p:cNvPr id="16"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7"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Tree>
    <p:extLst>
      <p:ext uri="{BB962C8B-B14F-4D97-AF65-F5344CB8AC3E}">
        <p14:creationId xmlns:p14="http://schemas.microsoft.com/office/powerpoint/2010/main" val="396920015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5331"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feld 11"/>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5" name="Textfeld 14"/>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9" name="Foliennummernplatzhalter 8"/>
          <p:cNvSpPr>
            <a:spLocks noGrp="1"/>
          </p:cNvSpPr>
          <p:nvPr>
            <p:ph type="sldNum" sz="quarter" idx="16"/>
          </p:nvPr>
        </p:nvSpPr>
        <p:spPr/>
        <p:txBody>
          <a:bodyPr/>
          <a:lstStyle/>
          <a:p>
            <a:fld id="{4CFEB0D3-1EB3-4F08-8062-95FFB9749870}" type="slidenum">
              <a:rPr lang="de-DE" smtClean="0"/>
              <a:pPr/>
              <a:t>‹#›</a:t>
            </a:fld>
            <a:endParaRPr lang="de-DE" dirty="0"/>
          </a:p>
        </p:txBody>
      </p:sp>
      <p:sp>
        <p:nvSpPr>
          <p:cNvPr id="18" name="Textplatzhalter 2"/>
          <p:cNvSpPr>
            <a:spLocks noGrp="1"/>
          </p:cNvSpPr>
          <p:nvPr>
            <p:ph idx="1"/>
          </p:nvPr>
        </p:nvSpPr>
        <p:spPr>
          <a:xfrm>
            <a:off x="263525" y="1052512"/>
            <a:ext cx="11411596"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9"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21"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Tree>
    <p:extLst>
      <p:ext uri="{BB962C8B-B14F-4D97-AF65-F5344CB8AC3E}">
        <p14:creationId xmlns:p14="http://schemas.microsoft.com/office/powerpoint/2010/main" val="33149466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 Fußzeile/Quellenangab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55"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Textfeld 11"/>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5" name="Textfeld 14"/>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9" name="Foliennummernplatzhalter 8"/>
          <p:cNvSpPr>
            <a:spLocks noGrp="1"/>
          </p:cNvSpPr>
          <p:nvPr>
            <p:ph type="sldNum" sz="quarter" idx="16"/>
          </p:nvPr>
        </p:nvSpPr>
        <p:spPr/>
        <p:txBody>
          <a:bodyPr/>
          <a:lstStyle/>
          <a:p>
            <a:fld id="{4CFEB0D3-1EB3-4F08-8062-95FFB9749870}" type="slidenum">
              <a:rPr lang="de-DE" smtClean="0"/>
              <a:pPr/>
              <a:t>‹#›</a:t>
            </a:fld>
            <a:endParaRPr lang="de-DE" dirty="0"/>
          </a:p>
        </p:txBody>
      </p:sp>
      <p:sp>
        <p:nvSpPr>
          <p:cNvPr id="19"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6"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
        <p:nvSpPr>
          <p:cNvPr id="22" name="Textplatzhalter 2"/>
          <p:cNvSpPr>
            <a:spLocks noGrp="1"/>
          </p:cNvSpPr>
          <p:nvPr>
            <p:ph idx="1"/>
          </p:nvPr>
        </p:nvSpPr>
        <p:spPr>
          <a:xfrm>
            <a:off x="263525" y="1457326"/>
            <a:ext cx="11411596" cy="4995860"/>
          </a:xfrm>
          <a:prstGeom prst="rect">
            <a:avLst/>
          </a:prstGeom>
        </p:spPr>
        <p:txBody>
          <a:bodyPr vert="horz" lIns="0" tIns="0" rIns="0" bIns="0" rtlCol="0">
            <a:norm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3" name="Textplatzhalter 2"/>
          <p:cNvSpPr>
            <a:spLocks noGrp="1"/>
          </p:cNvSpPr>
          <p:nvPr>
            <p:ph idx="17" hasCustomPrompt="1"/>
          </p:nvPr>
        </p:nvSpPr>
        <p:spPr>
          <a:xfrm>
            <a:off x="263525" y="1001949"/>
            <a:ext cx="11411596" cy="346310"/>
          </a:xfrm>
          <a:prstGeom prst="rect">
            <a:avLst/>
          </a:prstGeom>
        </p:spPr>
        <p:txBody>
          <a:bodyPr vert="horz" lIns="0" tIns="0" rIns="0" bIns="0" rtlCol="0">
            <a:normAutofit/>
          </a:bodyPr>
          <a:lstStyle>
            <a:lvl1pPr>
              <a:defRPr>
                <a:solidFill>
                  <a:schemeClr val="tx1"/>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Tree>
    <p:extLst>
      <p:ext uri="{BB962C8B-B14F-4D97-AF65-F5344CB8AC3E}">
        <p14:creationId xmlns:p14="http://schemas.microsoft.com/office/powerpoint/2010/main" val="38372037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opfzeile + Fließtextkasten + Fußzeile/Quellenangab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379"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14" name="Rechteck 13"/>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63351" y="6299448"/>
            <a:ext cx="11412711" cy="153888"/>
          </a:xfrm>
        </p:spPr>
        <p:txBody>
          <a:bodyPr wrap="square" anchor="b">
            <a:spAutoFit/>
          </a:bodyPr>
          <a:lstStyle>
            <a:lvl1pPr algn="l">
              <a:spcBef>
                <a:spcPts val="0"/>
              </a:spcBef>
              <a:defRPr sz="1000">
                <a:solidFill>
                  <a:schemeClr val="tx1"/>
                </a:solidFill>
              </a:defRPr>
            </a:lvl1pPr>
          </a:lstStyle>
          <a:p>
            <a:pPr lvl="0"/>
            <a:r>
              <a:rPr lang="de-DE" dirty="0"/>
              <a:t>Platzhalter Quelle</a:t>
            </a:r>
          </a:p>
        </p:txBody>
      </p:sp>
      <p:sp>
        <p:nvSpPr>
          <p:cNvPr id="12" name="Textfeld 11"/>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5" name="Textfeld 14"/>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9" name="Foliennummernplatzhalter 8"/>
          <p:cNvSpPr>
            <a:spLocks noGrp="1"/>
          </p:cNvSpPr>
          <p:nvPr>
            <p:ph type="sldNum" sz="quarter" idx="16"/>
          </p:nvPr>
        </p:nvSpPr>
        <p:spPr/>
        <p:txBody>
          <a:bodyPr/>
          <a:lstStyle/>
          <a:p>
            <a:fld id="{4CFEB0D3-1EB3-4F08-8062-95FFB9749870}" type="slidenum">
              <a:rPr lang="de-DE" smtClean="0"/>
              <a:pPr/>
              <a:t>‹#›</a:t>
            </a:fld>
            <a:endParaRPr lang="de-DE" dirty="0"/>
          </a:p>
        </p:txBody>
      </p:sp>
      <p:sp>
        <p:nvSpPr>
          <p:cNvPr id="18" name="Textplatzhalter 2"/>
          <p:cNvSpPr>
            <a:spLocks noGrp="1"/>
          </p:cNvSpPr>
          <p:nvPr>
            <p:ph idx="1"/>
          </p:nvPr>
        </p:nvSpPr>
        <p:spPr>
          <a:xfrm>
            <a:off x="263525" y="1052512"/>
            <a:ext cx="11411596" cy="524693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9" name="Titel 1"/>
          <p:cNvSpPr>
            <a:spLocks noGrp="1"/>
          </p:cNvSpPr>
          <p:nvPr>
            <p:ph type="title" hasCustomPrompt="1"/>
          </p:nvPr>
        </p:nvSpPr>
        <p:spPr>
          <a:xfrm>
            <a:off x="263525" y="260350"/>
            <a:ext cx="11411596" cy="395288"/>
          </a:xfrm>
          <a:prstGeom prst="rect">
            <a:avLst/>
          </a:prstGeom>
        </p:spPr>
        <p:txBody>
          <a:bodyPr anchor="ctr"/>
          <a:lstStyle>
            <a:lvl1pPr>
              <a:defRPr>
                <a:solidFill>
                  <a:schemeClr val="tx1"/>
                </a:solidFill>
              </a:defRPr>
            </a:lvl1pPr>
          </a:lstStyle>
          <a:p>
            <a:r>
              <a:rPr lang="de-DE" dirty="0"/>
              <a:t>Titel durch Klicken bearbeiten</a:t>
            </a:r>
          </a:p>
        </p:txBody>
      </p:sp>
      <p:sp>
        <p:nvSpPr>
          <p:cNvPr id="16"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Tree>
    <p:extLst>
      <p:ext uri="{BB962C8B-B14F-4D97-AF65-F5344CB8AC3E}">
        <p14:creationId xmlns:p14="http://schemas.microsoft.com/office/powerpoint/2010/main" val="11383445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sp>
        <p:nvSpPr>
          <p:cNvPr id="6" name="Bildplatzhalter 5"/>
          <p:cNvSpPr>
            <a:spLocks noGrp="1"/>
          </p:cNvSpPr>
          <p:nvPr>
            <p:ph type="pic" sz="quarter" idx="12"/>
          </p:nvPr>
        </p:nvSpPr>
        <p:spPr>
          <a:xfrm>
            <a:off x="1" y="0"/>
            <a:ext cx="11928472" cy="6858000"/>
          </a:xfrm>
          <a:solidFill>
            <a:schemeClr val="tx2"/>
          </a:solidFill>
        </p:spPr>
        <p:txBody>
          <a:bodyPr lIns="72000" tIns="72000" rIns="72000" bIns="72000"/>
          <a:lstStyle>
            <a:lvl1pPr>
              <a:defRPr>
                <a:solidFill>
                  <a:schemeClr val="tx1"/>
                </a:solidFill>
              </a:defRPr>
            </a:lvl1pPr>
          </a:lstStyle>
          <a:p>
            <a:endParaRPr lang="de-DE"/>
          </a:p>
        </p:txBody>
      </p:sp>
      <p:sp>
        <p:nvSpPr>
          <p:cNvPr id="16" name="Textfeld 15"/>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4" name="Foliennummernplatzhalter 3"/>
          <p:cNvSpPr>
            <a:spLocks noGrp="1"/>
          </p:cNvSpPr>
          <p:nvPr>
            <p:ph type="sldNum" sz="quarter" idx="15"/>
          </p:nvPr>
        </p:nvSpPr>
        <p:spPr/>
        <p:txBody>
          <a:bodyPr/>
          <a:lstStyle/>
          <a:p>
            <a:fld id="{4CFEB0D3-1EB3-4F08-8062-95FFB9749870}" type="slidenum">
              <a:rPr lang="de-DE" smtClean="0"/>
              <a:pPr/>
              <a:t>‹#›</a:t>
            </a:fld>
            <a:endParaRPr lang="de-DE" dirty="0"/>
          </a:p>
        </p:txBody>
      </p:sp>
      <p:sp>
        <p:nvSpPr>
          <p:cNvPr id="7"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Tree>
    <p:extLst>
      <p:ext uri="{BB962C8B-B14F-4D97-AF65-F5344CB8AC3E}">
        <p14:creationId xmlns:p14="http://schemas.microsoft.com/office/powerpoint/2010/main" val="375902013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Kopfzeile + Fließtextkasten Rödl&amp;Partner gre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8403"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hteck 13"/>
          <p:cNvSpPr/>
          <p:nvPr userDrawn="1"/>
        </p:nvSpPr>
        <p:spPr>
          <a:xfrm>
            <a:off x="-794" y="0"/>
            <a:ext cx="12193588" cy="76470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sym typeface="Arial" panose="020B0604020202020204" pitchFamily="34" charset="0"/>
            </a:endParaRPr>
          </a:p>
        </p:txBody>
      </p:sp>
      <p:sp>
        <p:nvSpPr>
          <p:cNvPr id="19" name="Textfeld 18"/>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21" name="Textfeld 20"/>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2"/>
          <p:cNvSpPr>
            <a:spLocks noGrp="1"/>
          </p:cNvSpPr>
          <p:nvPr>
            <p:ph idx="1"/>
          </p:nvPr>
        </p:nvSpPr>
        <p:spPr>
          <a:xfrm>
            <a:off x="263525" y="1052512"/>
            <a:ext cx="11448000" cy="5400675"/>
          </a:xfrm>
          <a:prstGeom prst="rect">
            <a:avLst/>
          </a:prstGeom>
        </p:spPr>
        <p:txBody>
          <a:bodyPr vert="horz" lIns="0" tIns="0" rIns="0" bIns="0" rtlCol="0">
            <a:noAutofit/>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 name="Foliennummernplatzhalter 2"/>
          <p:cNvSpPr>
            <a:spLocks noGrp="1"/>
          </p:cNvSpPr>
          <p:nvPr>
            <p:ph type="sldNum" sz="quarter" idx="11"/>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4" name="Titel 3"/>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a:t>Titelmasterformat durch Klicken bearbeiten</a:t>
            </a:r>
          </a:p>
        </p:txBody>
      </p:sp>
    </p:spTree>
    <p:extLst>
      <p:ext uri="{BB962C8B-B14F-4D97-AF65-F5344CB8AC3E}">
        <p14:creationId xmlns:p14="http://schemas.microsoft.com/office/powerpoint/2010/main" val="29147867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12" name="Titel 11"/>
          <p:cNvSpPr>
            <a:spLocks noGrp="1"/>
          </p:cNvSpPr>
          <p:nvPr>
            <p:ph type="title"/>
          </p:nvPr>
        </p:nvSpPr>
        <p:spPr bwMode="gray">
          <a:xfrm>
            <a:off x="334434" y="549275"/>
            <a:ext cx="11523133" cy="863600"/>
          </a:xfrm>
        </p:spPr>
        <p:txBody>
          <a:bodyPr/>
          <a:lstStyle/>
          <a:p>
            <a:r>
              <a:rPr lang="de-DE"/>
              <a:t>Titelmasterformat durch Klicken bearbeiten</a:t>
            </a:r>
            <a:endParaRPr lang="de-DE" dirty="0"/>
          </a:p>
        </p:txBody>
      </p:sp>
      <p:sp>
        <p:nvSpPr>
          <p:cNvPr id="6" name="Rechteck 5">
            <a:hlinkClick r:id="" action="ppaction://hlinkshowjump?jump=firstslide"/>
          </p:cNvPr>
          <p:cNvSpPr/>
          <p:nvPr userDrawn="1"/>
        </p:nvSpPr>
        <p:spPr bwMode="gray">
          <a:xfrm>
            <a:off x="9456374" y="260648"/>
            <a:ext cx="2401193"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7" name="Rechteck 6">
            <a:hlinkClick r:id="" action="ppaction://hlinkshowjump?jump=firstslide"/>
          </p:cNvPr>
          <p:cNvSpPr/>
          <p:nvPr userDrawn="1"/>
        </p:nvSpPr>
        <p:spPr bwMode="gray">
          <a:xfrm>
            <a:off x="9456374" y="260648"/>
            <a:ext cx="2401193"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
        <p:nvSpPr>
          <p:cNvPr id="8" name="Rechteck 7">
            <a:hlinkClick r:id="" action="ppaction://hlinkshowjump?jump=firstslide"/>
          </p:cNvPr>
          <p:cNvSpPr/>
          <p:nvPr userDrawn="1">
            <p:custDataLst>
              <p:tags r:id="rId1"/>
            </p:custDataLst>
          </p:nvPr>
        </p:nvSpPr>
        <p:spPr bwMode="gray">
          <a:xfrm>
            <a:off x="9264353" y="260648"/>
            <a:ext cx="2593215"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Tree>
    <p:extLst>
      <p:ext uri="{BB962C8B-B14F-4D97-AF65-F5344CB8AC3E}">
        <p14:creationId xmlns:p14="http://schemas.microsoft.com/office/powerpoint/2010/main" val="1396874761"/>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Titel und Inhalt">
    <p:spTree>
      <p:nvGrpSpPr>
        <p:cNvPr id="1" name=""/>
        <p:cNvGrpSpPr/>
        <p:nvPr/>
      </p:nvGrpSpPr>
      <p:grpSpPr>
        <a:xfrm>
          <a:off x="0" y="0"/>
          <a:ext cx="0" cy="0"/>
          <a:chOff x="0" y="0"/>
          <a:chExt cx="0" cy="0"/>
        </a:xfrm>
      </p:grpSpPr>
      <p:sp>
        <p:nvSpPr>
          <p:cNvPr id="12" name="Titel 11"/>
          <p:cNvSpPr>
            <a:spLocks noGrp="1"/>
          </p:cNvSpPr>
          <p:nvPr>
            <p:ph type="title"/>
          </p:nvPr>
        </p:nvSpPr>
        <p:spPr bwMode="gray">
          <a:xfrm>
            <a:off x="334434" y="549275"/>
            <a:ext cx="11523133" cy="863600"/>
          </a:xfrm>
        </p:spPr>
        <p:txBody>
          <a:bodyPr/>
          <a:lstStyle/>
          <a:p>
            <a:r>
              <a:rPr lang="de-DE" noProof="0"/>
              <a:t>Titelmasterformat durch Klicken bearbeiten</a:t>
            </a:r>
            <a:endParaRPr lang="de-DE" noProof="0" dirty="0"/>
          </a:p>
        </p:txBody>
      </p:sp>
      <p:sp>
        <p:nvSpPr>
          <p:cNvPr id="20" name="Textplatzhalter 19"/>
          <p:cNvSpPr>
            <a:spLocks noGrp="1"/>
          </p:cNvSpPr>
          <p:nvPr>
            <p:ph type="body" sz="quarter" idx="13"/>
          </p:nvPr>
        </p:nvSpPr>
        <p:spPr bwMode="gray">
          <a:xfrm>
            <a:off x="334434" y="1773262"/>
            <a:ext cx="11523133" cy="4464050"/>
          </a:xfrm>
        </p:spPr>
        <p:txBody>
          <a:bodyPr/>
          <a:lstStyle>
            <a:lvl5pPr>
              <a:defRPr/>
            </a:lvl5pPr>
            <a:lvl6pPr>
              <a:buClr>
                <a:schemeClr val="accent1"/>
              </a:buClr>
              <a:defRPr/>
            </a:lvl6pPr>
            <a:lvl7pPr>
              <a:buClr>
                <a:schemeClr val="accent1"/>
              </a:buClr>
              <a:defRPr/>
            </a:lvl7pPr>
            <a:lvl8pPr>
              <a:buClr>
                <a:schemeClr val="accent1"/>
              </a:buClr>
              <a:defRPr/>
            </a:lvl8pPr>
            <a:lvl9pPr>
              <a:buClr>
                <a:schemeClr val="accent1"/>
              </a:buClr>
              <a:buFont typeface="Arial" pitchFamily="34" charset="0"/>
              <a:buChar char="•"/>
              <a:defRPr/>
            </a:lvl9pPr>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6" name="Rechteck 5">
            <a:hlinkClick r:id="" action="ppaction://hlinkshowjump?jump=firstslide"/>
          </p:cNvPr>
          <p:cNvSpPr/>
          <p:nvPr userDrawn="1"/>
        </p:nvSpPr>
        <p:spPr bwMode="gray">
          <a:xfrm>
            <a:off x="9456374" y="260648"/>
            <a:ext cx="2401193"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noProof="0">
              <a:solidFill>
                <a:schemeClr val="tx1"/>
              </a:solidFill>
            </a:endParaRPr>
          </a:p>
        </p:txBody>
      </p:sp>
      <p:sp>
        <p:nvSpPr>
          <p:cNvPr id="7" name="Rechteck 6">
            <a:hlinkClick r:id="" action="ppaction://hlinkshowjump?jump=firstslide"/>
          </p:cNvPr>
          <p:cNvSpPr/>
          <p:nvPr userDrawn="1"/>
        </p:nvSpPr>
        <p:spPr bwMode="gray">
          <a:xfrm>
            <a:off x="9456374" y="260648"/>
            <a:ext cx="2401193"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noProof="0">
              <a:solidFill>
                <a:schemeClr val="tx1"/>
              </a:solidFill>
            </a:endParaRPr>
          </a:p>
        </p:txBody>
      </p:sp>
      <p:sp>
        <p:nvSpPr>
          <p:cNvPr id="9" name="Rechteck 8">
            <a:hlinkClick r:id="" action="ppaction://hlinkshowjump?jump=firstslide"/>
          </p:cNvPr>
          <p:cNvSpPr/>
          <p:nvPr userDrawn="1">
            <p:custDataLst>
              <p:tags r:id="rId1"/>
            </p:custDataLst>
          </p:nvPr>
        </p:nvSpPr>
        <p:spPr bwMode="gray">
          <a:xfrm>
            <a:off x="9264353" y="260648"/>
            <a:ext cx="2593215"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Tree>
    <p:extLst>
      <p:ext uri="{BB962C8B-B14F-4D97-AF65-F5344CB8AC3E}">
        <p14:creationId xmlns:p14="http://schemas.microsoft.com/office/powerpoint/2010/main" val="240268872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Titel und Text">
    <p:spTree>
      <p:nvGrpSpPr>
        <p:cNvPr id="1" name=""/>
        <p:cNvGrpSpPr/>
        <p:nvPr/>
      </p:nvGrpSpPr>
      <p:grpSpPr>
        <a:xfrm>
          <a:off x="0" y="0"/>
          <a:ext cx="0" cy="0"/>
          <a:chOff x="0" y="0"/>
          <a:chExt cx="0" cy="0"/>
        </a:xfrm>
      </p:grpSpPr>
      <p:sp>
        <p:nvSpPr>
          <p:cNvPr id="12" name="Titel 11"/>
          <p:cNvSpPr>
            <a:spLocks noGrp="1"/>
          </p:cNvSpPr>
          <p:nvPr>
            <p:ph type="title"/>
          </p:nvPr>
        </p:nvSpPr>
        <p:spPr bwMode="gray">
          <a:xfrm>
            <a:off x="334434" y="549275"/>
            <a:ext cx="11523133" cy="863600"/>
          </a:xfrm>
          <a:prstGeom prst="rect">
            <a:avLst/>
          </a:prstGeom>
        </p:spPr>
        <p:txBody>
          <a:bodyPr/>
          <a:lstStyle/>
          <a:p>
            <a:r>
              <a:rPr lang="de-DE" noProof="0" dirty="0"/>
              <a:t>Titelmasterformat durch Klicken bearbeiten</a:t>
            </a:r>
          </a:p>
        </p:txBody>
      </p:sp>
      <p:sp>
        <p:nvSpPr>
          <p:cNvPr id="20" name="Textplatzhalter 19"/>
          <p:cNvSpPr>
            <a:spLocks noGrp="1"/>
          </p:cNvSpPr>
          <p:nvPr>
            <p:ph type="body" sz="quarter" idx="13"/>
          </p:nvPr>
        </p:nvSpPr>
        <p:spPr bwMode="gray">
          <a:xfrm>
            <a:off x="334434" y="1773262"/>
            <a:ext cx="11523133" cy="4464050"/>
          </a:xfrm>
        </p:spPr>
        <p:txBody>
          <a:bodyPr/>
          <a:lstStyle>
            <a:lvl5pPr>
              <a:defRPr/>
            </a:lvl5pPr>
            <a:lvl6pPr>
              <a:buClr>
                <a:schemeClr val="accent1"/>
              </a:buClr>
              <a:defRPr/>
            </a:lvl6pPr>
            <a:lvl7pPr>
              <a:buClr>
                <a:schemeClr val="accent1"/>
              </a:buClr>
              <a:defRPr/>
            </a:lvl7pPr>
            <a:lvl8pPr>
              <a:buClr>
                <a:schemeClr val="accent1"/>
              </a:buClr>
              <a:defRPr/>
            </a:lvl8pPr>
            <a:lvl9pPr>
              <a:buClr>
                <a:schemeClr val="accent1"/>
              </a:buClr>
              <a:buFont typeface="Arial" pitchFamily="34" charset="0"/>
              <a:buChar char="•"/>
              <a:defRPr/>
            </a:lvl9p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de-DE" noProof="0" dirty="0"/>
          </a:p>
        </p:txBody>
      </p:sp>
      <p:sp>
        <p:nvSpPr>
          <p:cNvPr id="6" name="Rechteck 5">
            <a:hlinkClick r:id="" action="ppaction://hlinkshowjump?jump=firstslide"/>
          </p:cNvPr>
          <p:cNvSpPr/>
          <p:nvPr userDrawn="1"/>
        </p:nvSpPr>
        <p:spPr bwMode="gray">
          <a:xfrm>
            <a:off x="9456374" y="260648"/>
            <a:ext cx="2401193" cy="28803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noProof="0">
              <a:solidFill>
                <a:schemeClr val="tx1"/>
              </a:solidFill>
            </a:endParaRPr>
          </a:p>
        </p:txBody>
      </p:sp>
      <p:sp>
        <p:nvSpPr>
          <p:cNvPr id="7" name="Rechteck 6">
            <a:hlinkClick r:id="" action="ppaction://hlinkshowjump?jump=firstslide"/>
          </p:cNvPr>
          <p:cNvSpPr/>
          <p:nvPr userDrawn="1"/>
        </p:nvSpPr>
        <p:spPr bwMode="gray">
          <a:xfrm>
            <a:off x="9456374" y="260648"/>
            <a:ext cx="2401193"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noProof="0">
              <a:solidFill>
                <a:schemeClr val="tx1"/>
              </a:solidFill>
            </a:endParaRPr>
          </a:p>
        </p:txBody>
      </p:sp>
      <p:sp>
        <p:nvSpPr>
          <p:cNvPr id="9" name="Rechteck 8">
            <a:hlinkClick r:id="" action="ppaction://hlinkshowjump?jump=firstslide"/>
          </p:cNvPr>
          <p:cNvSpPr/>
          <p:nvPr userDrawn="1">
            <p:custDataLst>
              <p:tags r:id="rId1"/>
            </p:custDataLst>
          </p:nvPr>
        </p:nvSpPr>
        <p:spPr bwMode="gray">
          <a:xfrm>
            <a:off x="9264353" y="260648"/>
            <a:ext cx="2593215" cy="288032"/>
          </a:xfrm>
          <a:prstGeom prst="rect">
            <a:avLst/>
          </a:prstGeom>
          <a:solidFill>
            <a:schemeClr val="bg1">
              <a:alpha val="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0" dirty="0" err="1">
              <a:solidFill>
                <a:schemeClr val="tx1"/>
              </a:solidFill>
            </a:endParaRPr>
          </a:p>
        </p:txBody>
      </p:sp>
    </p:spTree>
    <p:extLst>
      <p:ext uri="{BB962C8B-B14F-4D97-AF65-F5344CB8AC3E}">
        <p14:creationId xmlns:p14="http://schemas.microsoft.com/office/powerpoint/2010/main" val="2738646775"/>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0451"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tx2"/>
          </a:solidFill>
          <a:effectLst>
            <a:outerShdw dist="27940" dir="5400000" algn="t" rotWithShape="0">
              <a:prstClr val="black"/>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fld id="{4CFEB0D3-1EB3-4F08-8062-95FFB9749870}" type="slidenum">
              <a:rPr lang="de-DE" smtClean="0"/>
              <a:pPr/>
              <a:t>‹#›</a:t>
            </a:fld>
            <a:endParaRPr lang="de-DE" dirty="0"/>
          </a:p>
        </p:txBody>
      </p:sp>
      <p:sp>
        <p:nvSpPr>
          <p:cNvPr id="14" name="Fußzeilenplatzhalter 4"/>
          <p:cNvSpPr txBox="1">
            <a:spLocks/>
          </p:cNvSpPr>
          <p:nvPr userDrawn="1"/>
        </p:nvSpPr>
        <p:spPr>
          <a:xfrm rot="16200000">
            <a:off x="9754903" y="4016090"/>
            <a:ext cx="4610665" cy="263525"/>
          </a:xfrm>
          <a:prstGeom prst="rect">
            <a:avLst/>
          </a:prstGeom>
          <a:noFill/>
        </p:spPr>
        <p:txBody>
          <a:bodyPr vert="horz" lIns="0" tIns="0" rIns="36000" bIns="0" rtlCol="0" anchor="ctr"/>
          <a:lstStyle>
            <a:defPPr>
              <a:defRPr lang="de-DE"/>
            </a:defPPr>
            <a:lvl1pPr marL="0" algn="r" defTabSz="914400" rtl="0" eaLnBrk="1" latinLnBrk="0" hangingPunct="1">
              <a:defRPr sz="800" kern="1200" spc="-20" baseline="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Präsentationtitel</a:t>
            </a:r>
            <a:endParaRPr lang="de-DE" dirty="0"/>
          </a:p>
        </p:txBody>
      </p:sp>
      <p:sp>
        <p:nvSpPr>
          <p:cNvPr id="12" name="Titel 1">
            <a:extLst>
              <a:ext uri="{FF2B5EF4-FFF2-40B4-BE49-F238E27FC236}">
                <a16:creationId xmlns:a16="http://schemas.microsoft.com/office/drawing/2014/main" id="{7448124C-09AC-C547-A9C4-84CEDD85153B}"/>
              </a:ext>
            </a:extLst>
          </p:cNvPr>
          <p:cNvSpPr>
            <a:spLocks noGrp="1"/>
          </p:cNvSpPr>
          <p:nvPr>
            <p:ph type="title" hasCustomPrompt="1"/>
          </p:nvPr>
        </p:nvSpPr>
        <p:spPr>
          <a:xfrm>
            <a:off x="263525" y="260350"/>
            <a:ext cx="11411596" cy="395288"/>
          </a:xfrm>
        </p:spPr>
        <p:txBody>
          <a:bodyPr lIns="90000" anchor="ctr"/>
          <a:lstStyle>
            <a:lvl1pPr>
              <a:defRPr>
                <a:solidFill>
                  <a:schemeClr val="tx1"/>
                </a:solidFill>
              </a:defRPr>
            </a:lvl1pPr>
          </a:lstStyle>
          <a:p>
            <a:r>
              <a:rPr lang="de-DE" dirty="0"/>
              <a:t>Titel durch Klicken bearbeiten</a:t>
            </a:r>
          </a:p>
        </p:txBody>
      </p:sp>
    </p:spTree>
    <p:extLst>
      <p:ext uri="{BB962C8B-B14F-4D97-AF65-F5344CB8AC3E}">
        <p14:creationId xmlns:p14="http://schemas.microsoft.com/office/powerpoint/2010/main" val="9597977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5354978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92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8" y="3297236"/>
            <a:ext cx="6858001"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187820869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1475"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184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3102"/>
            <a:ext cx="11928472" cy="919089"/>
          </a:xfrm>
          <a:solidFill>
            <a:schemeClr val="tx2"/>
          </a:solidFill>
          <a:effectLst>
            <a:outerShdw dist="27940" dir="5400000" algn="t" rotWithShape="0">
              <a:prstClr val="black"/>
            </a:outerShdw>
          </a:effectLst>
        </p:spPr>
        <p:txBody>
          <a:bodyPr lIns="1224000" bIns="72000">
            <a:spAutoFit/>
          </a:bodyPr>
          <a:lstStyle>
            <a:lvl1pPr>
              <a:lnSpc>
                <a:spcPts val="6600"/>
              </a:lnSpc>
              <a:defRPr sz="6000" cap="all" baseline="0">
                <a:solidFill>
                  <a:schemeClr val="tx1"/>
                </a:solidFill>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fld id="{4CFEB0D3-1EB3-4F08-8062-95FFB9749870}" type="slidenum">
              <a:rPr lang="de-DE" smtClean="0"/>
              <a:pPr/>
              <a:t>‹#›</a:t>
            </a:fld>
            <a:endParaRPr lang="de-DE" dirty="0"/>
          </a:p>
        </p:txBody>
      </p:sp>
      <p:sp>
        <p:nvSpPr>
          <p:cNvPr id="12" name="Titel 1">
            <a:extLst>
              <a:ext uri="{FF2B5EF4-FFF2-40B4-BE49-F238E27FC236}">
                <a16:creationId xmlns:a16="http://schemas.microsoft.com/office/drawing/2014/main" id="{7448124C-09AC-C547-A9C4-84CEDD85153B}"/>
              </a:ext>
            </a:extLst>
          </p:cNvPr>
          <p:cNvSpPr>
            <a:spLocks noGrp="1"/>
          </p:cNvSpPr>
          <p:nvPr>
            <p:ph type="title" hasCustomPrompt="1"/>
          </p:nvPr>
        </p:nvSpPr>
        <p:spPr>
          <a:xfrm>
            <a:off x="263525" y="260350"/>
            <a:ext cx="11411596" cy="395288"/>
          </a:xfrm>
        </p:spPr>
        <p:txBody>
          <a:bodyPr lIns="90000" anchor="ctr"/>
          <a:lstStyle>
            <a:lvl1pPr>
              <a:defRPr>
                <a:solidFill>
                  <a:schemeClr val="tx1"/>
                </a:solidFill>
              </a:defRPr>
            </a:lvl1pPr>
          </a:lstStyle>
          <a:p>
            <a:r>
              <a:rPr lang="de-DE" dirty="0"/>
              <a:t>Titel durch Klicken bearbeiten</a:t>
            </a:r>
          </a:p>
        </p:txBody>
      </p:sp>
      <p:sp>
        <p:nvSpPr>
          <p:cNvPr id="15"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Tree>
    <p:extLst>
      <p:ext uri="{BB962C8B-B14F-4D97-AF65-F5344CB8AC3E}">
        <p14:creationId xmlns:p14="http://schemas.microsoft.com/office/powerpoint/2010/main" val="321868488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Kapiteldeckblatt 2">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2499"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5" name="Rechteck 4"/>
          <p:cNvSpPr/>
          <p:nvPr userDrawn="1"/>
        </p:nvSpPr>
        <p:spPr>
          <a:xfrm>
            <a:off x="-794" y="0"/>
            <a:ext cx="12193588" cy="7647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Gerade Verbindung 12"/>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10" name="Foliennummernplatzhalter 9"/>
          <p:cNvSpPr>
            <a:spLocks noGrp="1"/>
          </p:cNvSpPr>
          <p:nvPr>
            <p:ph type="sldNum" sz="quarter" idx="16"/>
          </p:nvPr>
        </p:nvSpPr>
        <p:spPr/>
        <p:txBody>
          <a:bodyPr/>
          <a:lstStyle/>
          <a:p>
            <a:fld id="{4CFEB0D3-1EB3-4F08-8062-95FFB9749870}" type="slidenum">
              <a:rPr lang="de-DE" smtClean="0"/>
              <a:pPr/>
              <a:t>‹#›</a:t>
            </a:fld>
            <a:endParaRPr lang="de-DE" dirty="0"/>
          </a:p>
        </p:txBody>
      </p:sp>
      <p:sp>
        <p:nvSpPr>
          <p:cNvPr id="12" name="Titel 1">
            <a:extLst>
              <a:ext uri="{FF2B5EF4-FFF2-40B4-BE49-F238E27FC236}">
                <a16:creationId xmlns:a16="http://schemas.microsoft.com/office/drawing/2014/main" id="{7448124C-09AC-C547-A9C4-84CEDD85153B}"/>
              </a:ext>
            </a:extLst>
          </p:cNvPr>
          <p:cNvSpPr>
            <a:spLocks noGrp="1"/>
          </p:cNvSpPr>
          <p:nvPr>
            <p:ph type="title" hasCustomPrompt="1"/>
          </p:nvPr>
        </p:nvSpPr>
        <p:spPr>
          <a:xfrm>
            <a:off x="263525" y="260350"/>
            <a:ext cx="11411596" cy="395288"/>
          </a:xfrm>
        </p:spPr>
        <p:txBody>
          <a:bodyPr lIns="90000" anchor="ctr"/>
          <a:lstStyle>
            <a:lvl1pPr>
              <a:defRPr>
                <a:solidFill>
                  <a:schemeClr val="tx1"/>
                </a:solidFill>
              </a:defRPr>
            </a:lvl1pPr>
          </a:lstStyle>
          <a:p>
            <a:r>
              <a:rPr lang="de-DE" dirty="0"/>
              <a:t>Titel durch Klicken bearbeiten</a:t>
            </a:r>
          </a:p>
        </p:txBody>
      </p:sp>
      <p:sp>
        <p:nvSpPr>
          <p:cNvPr id="15"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Tree>
    <p:extLst>
      <p:ext uri="{BB962C8B-B14F-4D97-AF65-F5344CB8AC3E}">
        <p14:creationId xmlns:p14="http://schemas.microsoft.com/office/powerpoint/2010/main" val="24939523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3523"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5" name="Foliennummernplatzhalter 4"/>
          <p:cNvSpPr>
            <a:spLocks noGrp="1"/>
          </p:cNvSpPr>
          <p:nvPr>
            <p:ph type="sldNum" sz="quarter" idx="16"/>
          </p:nvPr>
        </p:nvSpPr>
        <p:spPr/>
        <p:txBody>
          <a:bodyPr/>
          <a:lstStyle/>
          <a:p>
            <a:fld id="{4CFEB0D3-1EB3-4F08-8062-95FFB9749870}" type="slidenum">
              <a:rPr lang="de-DE" smtClean="0"/>
              <a:pPr/>
              <a:t>‹#›</a:t>
            </a:fld>
            <a:endParaRPr lang="de-DE" dirty="0"/>
          </a:p>
        </p:txBody>
      </p:sp>
      <p:sp>
        <p:nvSpPr>
          <p:cNvPr id="14" name="Textplatzhalter 2"/>
          <p:cNvSpPr>
            <a:spLocks noGrp="1"/>
          </p:cNvSpPr>
          <p:nvPr>
            <p:ph idx="1"/>
          </p:nvPr>
        </p:nvSpPr>
        <p:spPr>
          <a:xfrm>
            <a:off x="263525" y="1052512"/>
            <a:ext cx="11411596"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3" name="Titel 1"/>
          <p:cNvSpPr>
            <a:spLocks noGrp="1"/>
          </p:cNvSpPr>
          <p:nvPr>
            <p:ph type="title" hasCustomPrompt="1"/>
          </p:nvPr>
        </p:nvSpPr>
        <p:spPr>
          <a:xfrm>
            <a:off x="263525" y="260350"/>
            <a:ext cx="11411596" cy="395288"/>
          </a:xfrm>
        </p:spPr>
        <p:txBody>
          <a:bodyPr lIns="90000" anchor="ctr"/>
          <a:lstStyle>
            <a:lvl1pPr>
              <a:defRPr>
                <a:solidFill>
                  <a:schemeClr val="tx2"/>
                </a:solidFill>
              </a:defRPr>
            </a:lvl1pPr>
          </a:lstStyle>
          <a:p>
            <a:r>
              <a:rPr lang="de-DE" dirty="0"/>
              <a:t>Titel durch Klicken bearbeiten</a:t>
            </a:r>
          </a:p>
        </p:txBody>
      </p:sp>
      <p:sp>
        <p:nvSpPr>
          <p:cNvPr id="15"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Tree>
    <p:extLst>
      <p:ext uri="{BB962C8B-B14F-4D97-AF65-F5344CB8AC3E}">
        <p14:creationId xmlns:p14="http://schemas.microsoft.com/office/powerpoint/2010/main" val="20516512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4547"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hasCustomPrompt="1"/>
          </p:nvPr>
        </p:nvSpPr>
        <p:spPr>
          <a:xfrm>
            <a:off x="263525" y="260350"/>
            <a:ext cx="11411596" cy="395288"/>
          </a:xfrm>
        </p:spPr>
        <p:txBody>
          <a:bodyPr lIns="90000" anchor="ctr"/>
          <a:lstStyle>
            <a:lvl1pPr>
              <a:defRPr>
                <a:solidFill>
                  <a:schemeClr val="tx2"/>
                </a:solidFill>
              </a:defRPr>
            </a:lvl1pPr>
          </a:lstStyle>
          <a:p>
            <a:r>
              <a:rPr lang="de-DE" dirty="0"/>
              <a:t>Titel durch Klicken bearbeiten</a:t>
            </a:r>
          </a:p>
        </p:txBody>
      </p:sp>
      <p:sp>
        <p:nvSpPr>
          <p:cNvPr id="5" name="Foliennummernplatzhalter 4"/>
          <p:cNvSpPr>
            <a:spLocks noGrp="1"/>
          </p:cNvSpPr>
          <p:nvPr>
            <p:ph type="sldNum" sz="quarter" idx="16"/>
          </p:nvPr>
        </p:nvSpPr>
        <p:spPr/>
        <p:txBody>
          <a:bodyPr/>
          <a:lstStyle>
            <a:lvl1pPr>
              <a:defRPr>
                <a:solidFill>
                  <a:schemeClr val="accent5"/>
                </a:solidFill>
              </a:defRPr>
            </a:lvl1pPr>
          </a:lstStyle>
          <a:p>
            <a:fld id="{4CFEB0D3-1EB3-4F08-8062-95FFB9749870}" type="slidenum">
              <a:rPr lang="de-DE" smtClean="0"/>
              <a:pPr/>
              <a:t>‹#›</a:t>
            </a:fld>
            <a:endParaRPr lang="de-DE" dirty="0"/>
          </a:p>
        </p:txBody>
      </p:sp>
      <p:sp>
        <p:nvSpPr>
          <p:cNvPr id="15" name="Textplatzhalter 2"/>
          <p:cNvSpPr>
            <a:spLocks noGrp="1"/>
          </p:cNvSpPr>
          <p:nvPr>
            <p:ph idx="1"/>
          </p:nvPr>
        </p:nvSpPr>
        <p:spPr>
          <a:xfrm>
            <a:off x="263525" y="1457326"/>
            <a:ext cx="11411596" cy="4995860"/>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0"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
        <p:nvSpPr>
          <p:cNvPr id="9" name="Textplatzhalter 2"/>
          <p:cNvSpPr>
            <a:spLocks noGrp="1"/>
          </p:cNvSpPr>
          <p:nvPr>
            <p:ph idx="17" hasCustomPrompt="1"/>
          </p:nvPr>
        </p:nvSpPr>
        <p:spPr>
          <a:xfrm>
            <a:off x="263525" y="1001949"/>
            <a:ext cx="11411596" cy="346310"/>
          </a:xfrm>
          <a:prstGeom prst="rect">
            <a:avLst/>
          </a:prstGeom>
        </p:spPr>
        <p:txBody>
          <a:bodyPr vert="horz" lIns="0" tIns="0" rIns="0" bIns="0" rtlCol="0">
            <a:normAutofit/>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Tree>
    <p:extLst>
      <p:ext uri="{BB962C8B-B14F-4D97-AF65-F5344CB8AC3E}">
        <p14:creationId xmlns:p14="http://schemas.microsoft.com/office/powerpoint/2010/main" val="258319213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opfzeile + Fließtextkasten + Fußzeile/Quellenangab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5571"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cxnSp>
        <p:nvCxnSpPr>
          <p:cNvPr id="20" name="Gerade Verbindung 19"/>
          <p:cNvCxnSpPr/>
          <p:nvPr userDrawn="1"/>
        </p:nvCxnSpPr>
        <p:spPr>
          <a:xfrm>
            <a:off x="0" y="764704"/>
            <a:ext cx="11928475" cy="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3" name="Textplatzhalter 12"/>
          <p:cNvSpPr>
            <a:spLocks noGrp="1"/>
          </p:cNvSpPr>
          <p:nvPr>
            <p:ph type="body" sz="quarter" idx="13" hasCustomPrompt="1"/>
          </p:nvPr>
        </p:nvSpPr>
        <p:spPr>
          <a:xfrm>
            <a:off x="263351" y="6299448"/>
            <a:ext cx="11412711" cy="153888"/>
          </a:xfrm>
        </p:spPr>
        <p:txBody>
          <a:bodyPr wrap="square" anchor="b">
            <a:spAutoFit/>
          </a:bodyPr>
          <a:lstStyle>
            <a:lvl1pPr algn="l">
              <a:spcBef>
                <a:spcPts val="0"/>
              </a:spcBef>
              <a:defRPr sz="1000">
                <a:solidFill>
                  <a:schemeClr val="tx2"/>
                </a:solidFill>
              </a:defRPr>
            </a:lvl1pPr>
          </a:lstStyle>
          <a:p>
            <a:pPr lvl="0"/>
            <a:r>
              <a:rPr lang="de-DE" dirty="0"/>
              <a:t>Platzhalter Quelle</a:t>
            </a:r>
          </a:p>
        </p:txBody>
      </p:sp>
      <p:sp>
        <p:nvSpPr>
          <p:cNvPr id="5" name="Foliennummernplatzhalter 4"/>
          <p:cNvSpPr>
            <a:spLocks noGrp="1"/>
          </p:cNvSpPr>
          <p:nvPr>
            <p:ph type="sldNum" sz="quarter" idx="16"/>
          </p:nvPr>
        </p:nvSpPr>
        <p:spPr/>
        <p:txBody>
          <a:bodyPr/>
          <a:lstStyle/>
          <a:p>
            <a:fld id="{4CFEB0D3-1EB3-4F08-8062-95FFB9749870}" type="slidenum">
              <a:rPr lang="de-DE" smtClean="0"/>
              <a:pPr/>
              <a:t>‹#›</a:t>
            </a:fld>
            <a:endParaRPr lang="de-DE" dirty="0"/>
          </a:p>
        </p:txBody>
      </p:sp>
      <p:sp>
        <p:nvSpPr>
          <p:cNvPr id="14" name="Textplatzhalter 2"/>
          <p:cNvSpPr>
            <a:spLocks noGrp="1"/>
          </p:cNvSpPr>
          <p:nvPr>
            <p:ph idx="1"/>
          </p:nvPr>
        </p:nvSpPr>
        <p:spPr>
          <a:xfrm>
            <a:off x="263525" y="1052513"/>
            <a:ext cx="11411596" cy="5246936"/>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15" name="Titel 1"/>
          <p:cNvSpPr>
            <a:spLocks noGrp="1"/>
          </p:cNvSpPr>
          <p:nvPr>
            <p:ph type="title" hasCustomPrompt="1"/>
          </p:nvPr>
        </p:nvSpPr>
        <p:spPr>
          <a:xfrm>
            <a:off x="263525" y="260350"/>
            <a:ext cx="11411596" cy="395288"/>
          </a:xfrm>
        </p:spPr>
        <p:txBody>
          <a:bodyPr lIns="90000" anchor="ctr"/>
          <a:lstStyle>
            <a:lvl1pPr>
              <a:defRPr>
                <a:solidFill>
                  <a:schemeClr val="tx2"/>
                </a:solidFill>
              </a:defRPr>
            </a:lvl1pPr>
          </a:lstStyle>
          <a:p>
            <a:r>
              <a:rPr lang="de-DE" dirty="0"/>
              <a:t>Titel durch Klicken bearbeiten</a:t>
            </a:r>
          </a:p>
        </p:txBody>
      </p:sp>
      <p:sp>
        <p:nvSpPr>
          <p:cNvPr id="16"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Tree>
    <p:extLst>
      <p:ext uri="{BB962C8B-B14F-4D97-AF65-F5344CB8AC3E}">
        <p14:creationId xmlns:p14="http://schemas.microsoft.com/office/powerpoint/2010/main" val="279223823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sp>
        <p:nvSpPr>
          <p:cNvPr id="6" name="Bildplatzhalter 5"/>
          <p:cNvSpPr>
            <a:spLocks noGrp="1"/>
          </p:cNvSpPr>
          <p:nvPr>
            <p:ph type="pic" sz="quarter" idx="12"/>
          </p:nvPr>
        </p:nvSpPr>
        <p:spPr>
          <a:xfrm>
            <a:off x="1" y="0"/>
            <a:ext cx="11928472" cy="6858000"/>
          </a:xfrm>
          <a:solidFill>
            <a:schemeClr val="tx2"/>
          </a:solidFill>
        </p:spPr>
        <p:txBody>
          <a:bodyPr lIns="72000" tIns="72000" rIns="72000" bIns="72000"/>
          <a:lstStyle>
            <a:lvl1pPr>
              <a:defRPr>
                <a:solidFill>
                  <a:schemeClr val="tx1"/>
                </a:solidFill>
              </a:defRPr>
            </a:lvl1pPr>
          </a:lstStyle>
          <a:p>
            <a:endParaRPr lang="de-DE"/>
          </a:p>
        </p:txBody>
      </p:sp>
      <p:sp>
        <p:nvSpPr>
          <p:cNvPr id="16" name="Textfeld 15"/>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4" name="Foliennummernplatzhalter 3"/>
          <p:cNvSpPr>
            <a:spLocks noGrp="1"/>
          </p:cNvSpPr>
          <p:nvPr>
            <p:ph type="sldNum" sz="quarter" idx="15"/>
          </p:nvPr>
        </p:nvSpPr>
        <p:spPr/>
        <p:txBody>
          <a:bodyPr/>
          <a:lstStyle/>
          <a:p>
            <a:fld id="{4CFEB0D3-1EB3-4F08-8062-95FFB9749870}" type="slidenum">
              <a:rPr lang="de-DE" smtClean="0"/>
              <a:pPr/>
              <a:t>‹#›</a:t>
            </a:fld>
            <a:endParaRPr lang="de-DE" dirty="0"/>
          </a:p>
        </p:txBody>
      </p:sp>
      <p:sp>
        <p:nvSpPr>
          <p:cNvPr id="8"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Tree>
    <p:extLst>
      <p:ext uri="{BB962C8B-B14F-4D97-AF65-F5344CB8AC3E}">
        <p14:creationId xmlns:p14="http://schemas.microsoft.com/office/powerpoint/2010/main" val="21302003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835"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0800"/>
            <a:ext cx="11928472" cy="991792"/>
          </a:xfrm>
          <a:solidFill>
            <a:schemeClr val="bg1"/>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5"/>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9101058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859"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20" name="Gerade Verbindung 19"/>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1"/>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9"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10"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Tree>
    <p:extLst>
      <p:ext uri="{BB962C8B-B14F-4D97-AF65-F5344CB8AC3E}">
        <p14:creationId xmlns:p14="http://schemas.microsoft.com/office/powerpoint/2010/main" val="227476157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883"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cxnSp>
        <p:nvCxnSpPr>
          <p:cNvPr id="20" name="Gerade Verbindung 19"/>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2">
            <a:extLst>
              <a:ext uri="{FF2B5EF4-FFF2-40B4-BE49-F238E27FC236}">
                <a16:creationId xmlns:a16="http://schemas.microsoft.com/office/drawing/2014/main" id="{3B32DA5B-3025-5D45-A927-BAED7D4FEB3A}"/>
              </a:ext>
            </a:extLst>
          </p:cNvPr>
          <p:cNvSpPr>
            <a:spLocks noGrp="1"/>
          </p:cNvSpPr>
          <p:nvPr>
            <p:ph idx="17" hasCustomPrompt="1"/>
          </p:nvPr>
        </p:nvSpPr>
        <p:spPr>
          <a:xfrm>
            <a:off x="263525" y="1052736"/>
            <a:ext cx="11448000" cy="346310"/>
          </a:xfrm>
          <a:prstGeom prst="rect">
            <a:avLst/>
          </a:prstGeom>
        </p:spPr>
        <p:txBody>
          <a:bodyPr vert="horz" lIns="0" tIns="0" rIns="0" bIns="0" rtlCol="0">
            <a:noAutofit/>
          </a:bodyPr>
          <a:lstStyle>
            <a:lvl1pPr>
              <a:defRPr>
                <a:solidFill>
                  <a:schemeClr val="tx1"/>
                </a:solidFill>
                <a:latin typeface="Arial" panose="020B0604020202020204" pitchFamily="34" charset="0"/>
                <a:cs typeface="Arial" panose="020B0604020202020204" pitchFamily="34" charset="0"/>
                <a:sym typeface="Arial" panose="020B0604020202020204" pitchFamily="34"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
        <p:nvSpPr>
          <p:cNvPr id="2" name="Titel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9"/>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11"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12"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Tree>
    <p:extLst>
      <p:ext uri="{BB962C8B-B14F-4D97-AF65-F5344CB8AC3E}">
        <p14:creationId xmlns:p14="http://schemas.microsoft.com/office/powerpoint/2010/main" val="15874295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0907" name="think-cell Folie" r:id="rId4" imgW="344" imgH="345" progId="TCLayout.ActiveDocument.1">
                  <p:embed/>
                </p:oleObj>
              </mc:Choice>
              <mc:Fallback>
                <p:oleObj name="think-cell Folie" r:id="rId4" imgW="344" imgH="345" progId="TCLayout.ActiveDocument.1">
                  <p:embed/>
                  <p:pic>
                    <p:nvPicPr>
                      <p:cNvPr id="4" name="Objek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Bildplatzhalter 5"/>
          <p:cNvSpPr>
            <a:spLocks noGrp="1"/>
          </p:cNvSpPr>
          <p:nvPr>
            <p:ph type="pic" sz="quarter" idx="12"/>
          </p:nvPr>
        </p:nvSpPr>
        <p:spPr>
          <a:xfrm>
            <a:off x="1" y="0"/>
            <a:ext cx="11928472" cy="6858000"/>
          </a:xfrm>
          <a:solidFill>
            <a:schemeClr val="bg2"/>
          </a:solidFill>
        </p:spPr>
        <p:txBody>
          <a:bodyPr lIns="72000" tIns="72000" rIns="72000" bIns="72000"/>
          <a:lstStyle>
            <a:lvl1pPr>
              <a:defRPr>
                <a:solidFill>
                  <a:schemeClr val="tx1"/>
                </a:solidFill>
              </a:defRPr>
            </a:lvl1pPr>
          </a:lstStyle>
          <a:p>
            <a:endParaRPr lang="de-DE" dirty="0"/>
          </a:p>
        </p:txBody>
      </p:sp>
      <p:sp>
        <p:nvSpPr>
          <p:cNvPr id="16" name="Textfeld 15"/>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3" name="Foliennummernplatzhalter 2"/>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Tree>
    <p:extLst>
      <p:ext uri="{BB962C8B-B14F-4D97-AF65-F5344CB8AC3E}">
        <p14:creationId xmlns:p14="http://schemas.microsoft.com/office/powerpoint/2010/main" val="39066535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31448729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949"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333535368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Einstiegs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955"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11" name="Gerade Verbindung 10"/>
          <p:cNvCxnSpPr/>
          <p:nvPr userDrawn="1"/>
        </p:nvCxnSpPr>
        <p:spPr>
          <a:xfrm>
            <a:off x="3971764" y="1664804"/>
            <a:ext cx="0" cy="519319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20"/>
          <p:cNvSpPr>
            <a:spLocks noGrp="1"/>
          </p:cNvSpPr>
          <p:nvPr>
            <p:ph type="body" sz="quarter" idx="12" hasCustomPrompt="1"/>
          </p:nvPr>
        </p:nvSpPr>
        <p:spPr>
          <a:xfrm>
            <a:off x="4259263" y="5121202"/>
            <a:ext cx="7453312" cy="320088"/>
          </a:xfrm>
        </p:spPr>
        <p:txBody>
          <a:bodyPr wrap="square" anchor="b">
            <a:spAutoFit/>
          </a:bodyPr>
          <a:lstStyle>
            <a:lvl1pPr>
              <a:lnSpc>
                <a:spcPct val="130000"/>
              </a:lnSpc>
              <a:spcBef>
                <a:spcPts val="0"/>
              </a:spcBef>
              <a:defRPr sz="16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bearbeiten</a:t>
            </a:r>
          </a:p>
        </p:txBody>
      </p:sp>
      <p:sp>
        <p:nvSpPr>
          <p:cNvPr id="25" name="Textplatzhalter 20"/>
          <p:cNvSpPr>
            <a:spLocks noGrp="1"/>
          </p:cNvSpPr>
          <p:nvPr>
            <p:ph type="body" sz="quarter" idx="13" hasCustomPrompt="1"/>
          </p:nvPr>
        </p:nvSpPr>
        <p:spPr>
          <a:xfrm>
            <a:off x="4259263" y="6207115"/>
            <a:ext cx="7453312" cy="246221"/>
          </a:xfrm>
        </p:spPr>
        <p:txBody>
          <a:bodyPr wrap="square" anchor="b">
            <a:sp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Ort,</a:t>
            </a:r>
          </a:p>
        </p:txBody>
      </p:sp>
      <p:pic>
        <p:nvPicPr>
          <p:cNvPr id="17"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3" name="Textplatzhalter 15"/>
          <p:cNvSpPr>
            <a:spLocks noGrp="1"/>
          </p:cNvSpPr>
          <p:nvPr>
            <p:ph type="body" sz="quarter" idx="14" hasCustomPrompt="1"/>
          </p:nvPr>
        </p:nvSpPr>
        <p:spPr>
          <a:xfrm>
            <a:off x="0" y="908720"/>
            <a:ext cx="12192794" cy="769441"/>
          </a:xfrm>
          <a:solidFill>
            <a:schemeClr val="tx2"/>
          </a:solidFill>
          <a:effectLst>
            <a:outerShdw dist="27940" dir="5400000" algn="t" rotWithShape="0">
              <a:prstClr val="black"/>
            </a:outerShdw>
          </a:effectLst>
        </p:spPr>
        <p:txBody>
          <a:bodyPr wrap="square" lIns="234000" bIns="0">
            <a:spAutoFit/>
          </a:bodyPr>
          <a:lstStyle>
            <a:lvl1pPr algn="l">
              <a:lnSpc>
                <a:spcPct val="100000"/>
              </a:lnSpc>
              <a:spcBef>
                <a:spcPts val="0"/>
              </a:spcBef>
              <a:defRPr sz="50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itel durch klicken hinzufügen</a:t>
            </a:r>
          </a:p>
        </p:txBody>
      </p:sp>
      <p:sp>
        <p:nvSpPr>
          <p:cNvPr id="14" name="Textplatzhalter 20">
            <a:extLst>
              <a:ext uri="{FF2B5EF4-FFF2-40B4-BE49-F238E27FC236}">
                <a16:creationId xmlns:a16="http://schemas.microsoft.com/office/drawing/2014/main" id="{B844ACB7-98F5-7044-A959-474A15FAEE00}"/>
              </a:ext>
            </a:extLst>
          </p:cNvPr>
          <p:cNvSpPr>
            <a:spLocks noGrp="1"/>
          </p:cNvSpPr>
          <p:nvPr>
            <p:ph type="body" sz="quarter" idx="16" hasCustomPrompt="1"/>
          </p:nvPr>
        </p:nvSpPr>
        <p:spPr>
          <a:xfrm>
            <a:off x="4259263" y="5877272"/>
            <a:ext cx="7453312" cy="246221"/>
          </a:xfrm>
        </p:spPr>
        <p:txBody>
          <a:bodyPr wrap="square" anchor="b">
            <a:sp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Name</a:t>
            </a:r>
          </a:p>
        </p:txBody>
      </p:sp>
      <p:sp>
        <p:nvSpPr>
          <p:cNvPr id="16" name="Datumsplatzhalter 4"/>
          <p:cNvSpPr>
            <a:spLocks noGrp="1"/>
          </p:cNvSpPr>
          <p:nvPr>
            <p:ph type="dt" sz="half" idx="2"/>
          </p:nvPr>
        </p:nvSpPr>
        <p:spPr>
          <a:xfrm>
            <a:off x="4639112" y="6207115"/>
            <a:ext cx="7074085" cy="246221"/>
          </a:xfrm>
          <a:prstGeom prst="rect">
            <a:avLst/>
          </a:prstGeom>
        </p:spPr>
        <p:txBody>
          <a:bodyPr vert="horz" lIns="0" tIns="0" rIns="0" bIns="0" rtlCol="0" anchor="b">
            <a:noAutofit/>
          </a:bodyPr>
          <a:lstStyle>
            <a:lvl1pPr algn="l">
              <a:defRPr sz="16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37DBC2A8-1FC1-491A-B53C-204E79EC8A06}" type="datetime4">
              <a:rPr lang="de-DE" smtClean="0"/>
              <a:t>2. Februar 2020</a:t>
            </a:fld>
            <a:endParaRPr lang="de-DE" dirty="0"/>
          </a:p>
        </p:txBody>
      </p:sp>
    </p:spTree>
    <p:extLst>
      <p:ext uri="{BB962C8B-B14F-4D97-AF65-F5344CB8AC3E}">
        <p14:creationId xmlns:p14="http://schemas.microsoft.com/office/powerpoint/2010/main" val="398211755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Voll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979" name="think-cell Folie" r:id="rId4" imgW="344" imgH="345" progId="TCLayout.ActiveDocument.1">
                  <p:embed/>
                </p:oleObj>
              </mc:Choice>
              <mc:Fallback>
                <p:oleObj name="think-cell Folie" r:id="rId4" imgW="344" imgH="345" progId="TCLayout.ActiveDocument.1">
                  <p:embed/>
                  <p:pic>
                    <p:nvPicPr>
                      <p:cNvPr id="2" name="Objek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Bildplatzhalter 5"/>
          <p:cNvSpPr>
            <a:spLocks noGrp="1"/>
          </p:cNvSpPr>
          <p:nvPr>
            <p:ph type="pic" sz="quarter" idx="12"/>
          </p:nvPr>
        </p:nvSpPr>
        <p:spPr>
          <a:xfrm>
            <a:off x="0" y="0"/>
            <a:ext cx="12192000" cy="6858000"/>
          </a:xfrm>
          <a:solidFill>
            <a:schemeClr val="bg2"/>
          </a:solidFill>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Bild durch Klicken auf Symbol hinzufügen</a:t>
            </a:r>
            <a:endParaRPr lang="en-GB" dirty="0"/>
          </a:p>
        </p:txBody>
      </p:sp>
      <p:sp>
        <p:nvSpPr>
          <p:cNvPr id="4" name="Textfeld 3"/>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5" name="Textfeld 4"/>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7" name="Textfeld 6"/>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8" name="Textfeld 7"/>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grpSp>
        <p:nvGrpSpPr>
          <p:cNvPr id="9" name="Gruppieren 8"/>
          <p:cNvGrpSpPr/>
          <p:nvPr userDrawn="1"/>
        </p:nvGrpSpPr>
        <p:grpSpPr>
          <a:xfrm>
            <a:off x="-276708" y="-835143"/>
            <a:ext cx="12205181" cy="7972555"/>
            <a:chOff x="-276708" y="-835143"/>
            <a:chExt cx="12205181" cy="7972555"/>
          </a:xfrm>
        </p:grpSpPr>
        <p:cxnSp>
          <p:nvCxnSpPr>
            <p:cNvPr id="10"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Gerade Verbindung mit Pfeil 1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Gerade Verbindung mit Pfeil 1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2"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193824893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Einstiegsfolie_Bild hoch 50%">
    <p:spTree>
      <p:nvGrpSpPr>
        <p:cNvPr id="1" name=""/>
        <p:cNvGrpSpPr/>
        <p:nvPr/>
      </p:nvGrpSpPr>
      <p:grpSpPr>
        <a:xfrm>
          <a:off x="0" y="0"/>
          <a:ext cx="0" cy="0"/>
          <a:chOff x="0" y="0"/>
          <a:chExt cx="0" cy="0"/>
        </a:xfrm>
      </p:grpSpPr>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4" name="Bildplatzhalter 13"/>
          <p:cNvSpPr>
            <a:spLocks noGrp="1"/>
          </p:cNvSpPr>
          <p:nvPr>
            <p:ph type="pic" sz="quarter" idx="17"/>
          </p:nvPr>
        </p:nvSpPr>
        <p:spPr>
          <a:xfrm>
            <a:off x="6043200" y="0"/>
            <a:ext cx="6148800" cy="6858000"/>
          </a:xfrm>
          <a:solidFill>
            <a:schemeClr val="bg2"/>
          </a:solidFill>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Bild durch Klicken auf Symbol hinzufügen</a:t>
            </a: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003"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54"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1966051" y="4728545"/>
            <a:ext cx="3744000" cy="640175"/>
          </a:xfrm>
        </p:spPr>
        <p:txBody>
          <a:bodyPr wrap="square" anchor="b">
            <a:spAutoFit/>
          </a:bodyPr>
          <a:lstStyle>
            <a:lvl1pPr>
              <a:lnSpc>
                <a:spcPct val="130000"/>
              </a:lnSpc>
              <a:spcBef>
                <a:spcPts val="0"/>
              </a:spcBef>
              <a:defRPr sz="16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1966051" y="6207115"/>
            <a:ext cx="3949929" cy="246221"/>
          </a:xfrm>
        </p:spPr>
        <p:txBody>
          <a:bodyPr wrap="square" anchor="b">
            <a:sp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Ort,</a:t>
            </a:r>
          </a:p>
        </p:txBody>
      </p:sp>
      <p:sp>
        <p:nvSpPr>
          <p:cNvPr id="21" name="object 6">
            <a:extLst>
              <a:ext uri="{FF2B5EF4-FFF2-40B4-BE49-F238E27FC236}">
                <a16:creationId xmlns:a16="http://schemas.microsoft.com/office/drawing/2014/main" id="{7A6E9864-542A-6F4C-965E-7D2AEBA2E01D}"/>
              </a:ext>
            </a:extLst>
          </p:cNvPr>
          <p:cNvSpPr/>
          <p:nvPr userDrawn="1"/>
        </p:nvSpPr>
        <p:spPr>
          <a:xfrm>
            <a:off x="1710074" y="1710000"/>
            <a:ext cx="45719" cy="514800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5" name="Textplatzhalter 15"/>
          <p:cNvSpPr>
            <a:spLocks noGrp="1"/>
          </p:cNvSpPr>
          <p:nvPr>
            <p:ph type="body" sz="quarter" idx="14" hasCustomPrompt="1"/>
          </p:nvPr>
        </p:nvSpPr>
        <p:spPr>
          <a:xfrm>
            <a:off x="-16405" y="944724"/>
            <a:ext cx="6037200" cy="2308324"/>
          </a:xfrm>
          <a:solidFill>
            <a:schemeClr val="tx2"/>
          </a:solidFill>
          <a:effectLst>
            <a:outerShdw dist="27940" dir="5400000" algn="t" rotWithShape="0">
              <a:prstClr val="black"/>
            </a:outerShdw>
          </a:effectLst>
        </p:spPr>
        <p:txBody>
          <a:bodyPr wrap="square" lIns="234000" rIns="144000" bIns="0">
            <a:spAutoFit/>
          </a:bodyPr>
          <a:lstStyle>
            <a:lvl1pPr algn="l">
              <a:lnSpc>
                <a:spcPct val="100000"/>
              </a:lnSpc>
              <a:spcBef>
                <a:spcPts val="0"/>
              </a:spcBef>
              <a:defRPr sz="50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itel durch klicken hinzufügen</a:t>
            </a:r>
          </a:p>
        </p:txBody>
      </p:sp>
      <p:sp>
        <p:nvSpPr>
          <p:cNvPr id="23" name="object 6">
            <a:extLst>
              <a:ext uri="{FF2B5EF4-FFF2-40B4-BE49-F238E27FC236}">
                <a16:creationId xmlns:a16="http://schemas.microsoft.com/office/drawing/2014/main" id="{35B15152-362B-804E-8180-EB8D98DF2756}"/>
              </a:ext>
            </a:extLst>
          </p:cNvPr>
          <p:cNvSpPr/>
          <p:nvPr userDrawn="1"/>
        </p:nvSpPr>
        <p:spPr>
          <a:xfrm>
            <a:off x="6032536" y="-6350"/>
            <a:ext cx="45719" cy="6864350"/>
          </a:xfrm>
          <a:custGeom>
            <a:avLst/>
            <a:gdLst/>
            <a:ahLst/>
            <a:cxnLst/>
            <a:rect l="l" t="t" r="r" b="b"/>
            <a:pathLst>
              <a:path h="4698365">
                <a:moveTo>
                  <a:pt x="0" y="0"/>
                </a:moveTo>
                <a:lnTo>
                  <a:pt x="0" y="4697996"/>
                </a:lnTo>
              </a:path>
            </a:pathLst>
          </a:custGeom>
          <a:ln w="25400">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6" name="Textplatzhalter 20">
            <a:extLst>
              <a:ext uri="{FF2B5EF4-FFF2-40B4-BE49-F238E27FC236}">
                <a16:creationId xmlns:a16="http://schemas.microsoft.com/office/drawing/2014/main" id="{154663BA-8C19-9E4F-A02C-E19A516A7AEC}"/>
              </a:ext>
            </a:extLst>
          </p:cNvPr>
          <p:cNvSpPr>
            <a:spLocks noGrp="1"/>
          </p:cNvSpPr>
          <p:nvPr>
            <p:ph type="body" sz="quarter" idx="16" hasCustomPrompt="1"/>
          </p:nvPr>
        </p:nvSpPr>
        <p:spPr>
          <a:xfrm>
            <a:off x="1966051" y="5877272"/>
            <a:ext cx="3950723" cy="246221"/>
          </a:xfrm>
        </p:spPr>
        <p:txBody>
          <a:bodyPr wrap="square" anchor="b">
            <a:sp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Name</a:t>
            </a:r>
          </a:p>
        </p:txBody>
      </p:sp>
      <p:sp>
        <p:nvSpPr>
          <p:cNvPr id="18" name="Datumsplatzhalter 4"/>
          <p:cNvSpPr>
            <a:spLocks noGrp="1"/>
          </p:cNvSpPr>
          <p:nvPr>
            <p:ph type="dt" sz="half" idx="2"/>
          </p:nvPr>
        </p:nvSpPr>
        <p:spPr>
          <a:xfrm>
            <a:off x="2365695" y="6207115"/>
            <a:ext cx="3550285" cy="246221"/>
          </a:xfrm>
          <a:prstGeom prst="rect">
            <a:avLst/>
          </a:prstGeom>
        </p:spPr>
        <p:txBody>
          <a:bodyPr vert="horz" lIns="0" tIns="0" rIns="0" bIns="0" rtlCol="0" anchor="b">
            <a:noAutofit/>
          </a:bodyPr>
          <a:lstStyle>
            <a:lvl1pPr algn="l">
              <a:defRPr sz="16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D5047AD2-6DAD-4E67-A6EF-69907746DFB5}" type="datetime4">
              <a:rPr lang="de-DE" smtClean="0"/>
              <a:t>2. Februar 2020</a:t>
            </a:fld>
            <a:endParaRPr lang="de-DE" dirty="0"/>
          </a:p>
        </p:txBody>
      </p:sp>
      <p:sp>
        <p:nvSpPr>
          <p:cNvPr id="17" name="Textfeld 16"/>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20" name="Textfeld 19"/>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22" name="Textfeld 21"/>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24" name="Textfeld 23"/>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grpSp>
        <p:nvGrpSpPr>
          <p:cNvPr id="25" name="Gruppieren 24"/>
          <p:cNvGrpSpPr/>
          <p:nvPr userDrawn="1"/>
        </p:nvGrpSpPr>
        <p:grpSpPr>
          <a:xfrm>
            <a:off x="-276708" y="-835143"/>
            <a:ext cx="12205181" cy="7972555"/>
            <a:chOff x="-276708" y="-835143"/>
            <a:chExt cx="12205181" cy="7972555"/>
          </a:xfrm>
        </p:grpSpPr>
        <p:cxnSp>
          <p:nvCxnSpPr>
            <p:cNvPr id="27"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0"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feld 50"/>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163787579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Einstiegsfolie_Bild hoch 30%">
    <p:spTree>
      <p:nvGrpSpPr>
        <p:cNvPr id="1" name=""/>
        <p:cNvGrpSpPr/>
        <p:nvPr/>
      </p:nvGrpSpPr>
      <p:grpSpPr>
        <a:xfrm>
          <a:off x="0" y="0"/>
          <a:ext cx="0" cy="0"/>
          <a:chOff x="0" y="0"/>
          <a:chExt cx="0" cy="0"/>
        </a:xfrm>
      </p:grpSpPr>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3" name="Rechteck 2"/>
          <p:cNvSpPr/>
          <p:nvPr userDrawn="1"/>
        </p:nvSpPr>
        <p:spPr>
          <a:xfrm>
            <a:off x="8004212" y="0"/>
            <a:ext cx="3924261" cy="3140968"/>
          </a:xfrm>
          <a:prstGeom prst="rect">
            <a:avLst/>
          </a:prstGeom>
          <a:solidFill>
            <a:schemeClr val="bg1"/>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indent="-216000" algn="l">
              <a:buFont typeface="Arial" panose="020B0604020202020204" pitchFamily="34" charset="0"/>
              <a:buChar char="•"/>
            </a:pPr>
            <a:endParaRPr lang="de-DE" sz="1600"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6027"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154"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1966051" y="5048632"/>
            <a:ext cx="5724000" cy="320088"/>
          </a:xfrm>
        </p:spPr>
        <p:txBody>
          <a:bodyPr wrap="square" anchor="b">
            <a:spAutoFit/>
          </a:bodyPr>
          <a:lstStyle>
            <a:lvl1pPr>
              <a:lnSpc>
                <a:spcPct val="130000"/>
              </a:lnSpc>
              <a:spcBef>
                <a:spcPts val="0"/>
              </a:spcBef>
              <a:defRPr sz="16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1966051" y="6207115"/>
            <a:ext cx="3950723" cy="246221"/>
          </a:xfrm>
        </p:spPr>
        <p:txBody>
          <a:bodyPr wrap="square" anchor="b">
            <a:sp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Ort,</a:t>
            </a: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21" name="object 6">
            <a:extLst>
              <a:ext uri="{FF2B5EF4-FFF2-40B4-BE49-F238E27FC236}">
                <a16:creationId xmlns:a16="http://schemas.microsoft.com/office/drawing/2014/main" id="{7A6E9864-542A-6F4C-965E-7D2AEBA2E01D}"/>
              </a:ext>
            </a:extLst>
          </p:cNvPr>
          <p:cNvSpPr/>
          <p:nvPr userDrawn="1"/>
        </p:nvSpPr>
        <p:spPr>
          <a:xfrm>
            <a:off x="1710074" y="1674000"/>
            <a:ext cx="45719" cy="518400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4" name="Bildplatzhalter 13"/>
          <p:cNvSpPr>
            <a:spLocks noGrp="1"/>
          </p:cNvSpPr>
          <p:nvPr>
            <p:ph type="pic" sz="quarter" idx="17"/>
          </p:nvPr>
        </p:nvSpPr>
        <p:spPr>
          <a:xfrm>
            <a:off x="7885595" y="0"/>
            <a:ext cx="4306405" cy="6857999"/>
          </a:xfrm>
          <a:solidFill>
            <a:schemeClr val="bg2"/>
          </a:solidFill>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Bild durch Klicken auf Symbol hinzufügen</a:t>
            </a:r>
          </a:p>
        </p:txBody>
      </p:sp>
      <p:sp>
        <p:nvSpPr>
          <p:cNvPr id="23" name="object 6">
            <a:extLst>
              <a:ext uri="{FF2B5EF4-FFF2-40B4-BE49-F238E27FC236}">
                <a16:creationId xmlns:a16="http://schemas.microsoft.com/office/drawing/2014/main" id="{35B15152-362B-804E-8180-EB8D98DF2756}"/>
              </a:ext>
            </a:extLst>
          </p:cNvPr>
          <p:cNvSpPr/>
          <p:nvPr userDrawn="1"/>
        </p:nvSpPr>
        <p:spPr>
          <a:xfrm>
            <a:off x="7885596" y="-6350"/>
            <a:ext cx="57324" cy="6864349"/>
          </a:xfrm>
          <a:custGeom>
            <a:avLst/>
            <a:gdLst/>
            <a:ahLst/>
            <a:cxnLst/>
            <a:rect l="l" t="t" r="r" b="b"/>
            <a:pathLst>
              <a:path h="4698365">
                <a:moveTo>
                  <a:pt x="0" y="0"/>
                </a:moveTo>
                <a:lnTo>
                  <a:pt x="0" y="4697996"/>
                </a:lnTo>
              </a:path>
            </a:pathLst>
          </a:custGeom>
          <a:ln w="25400">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5" name="Textplatzhalter 15"/>
          <p:cNvSpPr>
            <a:spLocks noGrp="1"/>
          </p:cNvSpPr>
          <p:nvPr>
            <p:ph type="body" sz="quarter" idx="14" hasCustomPrompt="1"/>
          </p:nvPr>
        </p:nvSpPr>
        <p:spPr>
          <a:xfrm>
            <a:off x="-16405" y="944724"/>
            <a:ext cx="7902000" cy="1538883"/>
          </a:xfrm>
          <a:solidFill>
            <a:schemeClr val="tx2"/>
          </a:solidFill>
          <a:effectLst>
            <a:outerShdw dist="27940" dir="5400000" algn="t" rotWithShape="0">
              <a:prstClr val="black"/>
            </a:outerShdw>
          </a:effectLst>
        </p:spPr>
        <p:txBody>
          <a:bodyPr wrap="square" lIns="234000" rIns="144000" bIns="0">
            <a:spAutoFit/>
          </a:bodyPr>
          <a:lstStyle>
            <a:lvl1pPr algn="l">
              <a:lnSpc>
                <a:spcPct val="100000"/>
              </a:lnSpc>
              <a:spcBef>
                <a:spcPts val="0"/>
              </a:spcBef>
              <a:defRPr sz="50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itel durch klicken hinzufügen</a:t>
            </a:r>
          </a:p>
        </p:txBody>
      </p:sp>
      <p:sp>
        <p:nvSpPr>
          <p:cNvPr id="17" name="Textplatzhalter 20">
            <a:extLst>
              <a:ext uri="{FF2B5EF4-FFF2-40B4-BE49-F238E27FC236}">
                <a16:creationId xmlns:a16="http://schemas.microsoft.com/office/drawing/2014/main" id="{933EB4BE-B7DA-FF4C-B744-5423D0C89B33}"/>
              </a:ext>
            </a:extLst>
          </p:cNvPr>
          <p:cNvSpPr>
            <a:spLocks noGrp="1"/>
          </p:cNvSpPr>
          <p:nvPr>
            <p:ph type="body" sz="quarter" idx="16" hasCustomPrompt="1"/>
          </p:nvPr>
        </p:nvSpPr>
        <p:spPr>
          <a:xfrm>
            <a:off x="1966051" y="5877272"/>
            <a:ext cx="3950723" cy="246221"/>
          </a:xfrm>
        </p:spPr>
        <p:txBody>
          <a:bodyPr wrap="square" anchor="b">
            <a:sp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Name</a:t>
            </a:r>
          </a:p>
        </p:txBody>
      </p:sp>
      <p:sp>
        <p:nvSpPr>
          <p:cNvPr id="18" name="Datumsplatzhalter 4"/>
          <p:cNvSpPr>
            <a:spLocks noGrp="1"/>
          </p:cNvSpPr>
          <p:nvPr>
            <p:ph type="dt" sz="half" idx="2"/>
          </p:nvPr>
        </p:nvSpPr>
        <p:spPr>
          <a:xfrm>
            <a:off x="2348917" y="6207115"/>
            <a:ext cx="3567857" cy="246221"/>
          </a:xfrm>
          <a:prstGeom prst="rect">
            <a:avLst/>
          </a:prstGeom>
        </p:spPr>
        <p:txBody>
          <a:bodyPr vert="horz" lIns="0" tIns="0" rIns="0" bIns="0" rtlCol="0" anchor="b">
            <a:noAutofit/>
          </a:bodyPr>
          <a:lstStyle>
            <a:lvl1pPr algn="l">
              <a:defRPr sz="16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DE176E86-EEB5-486D-AD1E-342781ACC510}" type="datetime4">
              <a:rPr lang="de-DE" smtClean="0"/>
              <a:t>2. Februar 2020</a:t>
            </a:fld>
            <a:endParaRPr lang="de-DE" dirty="0"/>
          </a:p>
        </p:txBody>
      </p:sp>
      <p:sp>
        <p:nvSpPr>
          <p:cNvPr id="16" name="Textfeld 15"/>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20" name="Textfeld 19"/>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22" name="Textfeld 21"/>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24" name="Textfeld 23"/>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grpSp>
        <p:nvGrpSpPr>
          <p:cNvPr id="25" name="Gruppieren 24"/>
          <p:cNvGrpSpPr/>
          <p:nvPr userDrawn="1"/>
        </p:nvGrpSpPr>
        <p:grpSpPr>
          <a:xfrm>
            <a:off x="-276708" y="-835143"/>
            <a:ext cx="12205181" cy="7972555"/>
            <a:chOff x="-276708" y="-835143"/>
            <a:chExt cx="12205181" cy="7972555"/>
          </a:xfrm>
        </p:grpSpPr>
        <p:cxnSp>
          <p:nvCxnSpPr>
            <p:cNvPr id="27"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0"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feld 50"/>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147517117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Einstiegsfolie_Bild quer 40%">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51"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6600"/>
              </a:lnSpc>
              <a:spcBef>
                <a:spcPct val="0"/>
              </a:spcBef>
              <a:spcAft>
                <a:spcPct val="0"/>
              </a:spcAft>
              <a:buFontTx/>
              <a:buNone/>
            </a:pPr>
            <a:endParaRPr lang="de-DE" sz="5000" b="0"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2" name="Titel 1"/>
          <p:cNvSpPr>
            <a:spLocks noGrp="1"/>
          </p:cNvSpPr>
          <p:nvPr>
            <p:ph type="title" hasCustomPrompt="1"/>
          </p:nvPr>
        </p:nvSpPr>
        <p:spPr>
          <a:xfrm>
            <a:off x="263524" y="1134800"/>
            <a:ext cx="11664951" cy="892721"/>
          </a:xfrm>
        </p:spPr>
        <p:txBody>
          <a:bodyPr anchor="t"/>
          <a:lstStyle>
            <a:lvl1pPr>
              <a:lnSpc>
                <a:spcPts val="6600"/>
              </a:lnSpc>
              <a:defRPr sz="50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r>
              <a:rPr lang="de-DE" dirty="0"/>
              <a:t>Titel der </a:t>
            </a:r>
            <a:r>
              <a:rPr lang="de-DE" dirty="0" err="1"/>
              <a:t>präsentation</a:t>
            </a:r>
            <a:endParaRPr lang="en-US" dirty="0"/>
          </a:p>
        </p:txBody>
      </p:sp>
      <p:pic>
        <p:nvPicPr>
          <p:cNvPr id="6154" name="Picture 10"/>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264050" y="2566111"/>
            <a:ext cx="3744388" cy="640175"/>
          </a:xfrm>
        </p:spPr>
        <p:txBody>
          <a:bodyPr wrap="square" anchor="b" anchorCtr="0">
            <a:spAutoFit/>
          </a:bodyPr>
          <a:lstStyle>
            <a:lvl1pPr>
              <a:lnSpc>
                <a:spcPct val="130000"/>
              </a:lnSpc>
              <a:spcBef>
                <a:spcPts val="0"/>
              </a:spcBef>
              <a:defRPr sz="16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4284804" y="2960065"/>
            <a:ext cx="7453312" cy="246221"/>
          </a:xfrm>
        </p:spPr>
        <p:txBody>
          <a:bodyPr wrap="square" anchor="b">
            <a:sp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Ort,</a:t>
            </a: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4" name="Bildplatzhalter 13"/>
          <p:cNvSpPr>
            <a:spLocks noGrp="1"/>
          </p:cNvSpPr>
          <p:nvPr>
            <p:ph type="pic" sz="quarter" idx="17"/>
          </p:nvPr>
        </p:nvSpPr>
        <p:spPr>
          <a:xfrm>
            <a:off x="3176" y="3546000"/>
            <a:ext cx="12189618" cy="3312000"/>
          </a:xfrm>
          <a:solidFill>
            <a:schemeClr val="bg2"/>
          </a:solidFill>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Bild durch Klicken auf Symbol hinzufügen</a:t>
            </a:r>
          </a:p>
        </p:txBody>
      </p:sp>
      <p:sp>
        <p:nvSpPr>
          <p:cNvPr id="31" name="object 5">
            <a:extLst>
              <a:ext uri="{FF2B5EF4-FFF2-40B4-BE49-F238E27FC236}">
                <a16:creationId xmlns:a16="http://schemas.microsoft.com/office/drawing/2014/main" id="{E53813C0-5592-A544-AC61-84B1689DD6BA}"/>
              </a:ext>
            </a:extLst>
          </p:cNvPr>
          <p:cNvSpPr/>
          <p:nvPr userDrawn="1"/>
        </p:nvSpPr>
        <p:spPr>
          <a:xfrm>
            <a:off x="0" y="2027521"/>
            <a:ext cx="12192635" cy="0"/>
          </a:xfrm>
          <a:custGeom>
            <a:avLst/>
            <a:gdLst/>
            <a:ahLst/>
            <a:cxnLst/>
            <a:rect l="l" t="t" r="r" b="b"/>
            <a:pathLst>
              <a:path w="12192635">
                <a:moveTo>
                  <a:pt x="0" y="0"/>
                </a:moveTo>
                <a:lnTo>
                  <a:pt x="12192113" y="0"/>
                </a:lnTo>
              </a:path>
            </a:pathLst>
          </a:custGeom>
          <a:ln w="25400">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32" name="object 6">
            <a:extLst>
              <a:ext uri="{FF2B5EF4-FFF2-40B4-BE49-F238E27FC236}">
                <a16:creationId xmlns:a16="http://schemas.microsoft.com/office/drawing/2014/main" id="{7A6E9864-542A-6F4C-965E-7D2AEBA2E01D}"/>
              </a:ext>
            </a:extLst>
          </p:cNvPr>
          <p:cNvSpPr/>
          <p:nvPr userDrawn="1"/>
        </p:nvSpPr>
        <p:spPr>
          <a:xfrm flipH="1">
            <a:off x="4041788" y="2027521"/>
            <a:ext cx="45719" cy="1509479"/>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33" name="object 5">
            <a:extLst>
              <a:ext uri="{FF2B5EF4-FFF2-40B4-BE49-F238E27FC236}">
                <a16:creationId xmlns:a16="http://schemas.microsoft.com/office/drawing/2014/main" id="{015ACE90-02E3-8C47-94C3-2D89724CC019}"/>
              </a:ext>
            </a:extLst>
          </p:cNvPr>
          <p:cNvSpPr/>
          <p:nvPr userDrawn="1"/>
        </p:nvSpPr>
        <p:spPr>
          <a:xfrm>
            <a:off x="-637" y="3537000"/>
            <a:ext cx="12192635" cy="0"/>
          </a:xfrm>
          <a:custGeom>
            <a:avLst/>
            <a:gdLst/>
            <a:ahLst/>
            <a:cxnLst/>
            <a:rect l="l" t="t" r="r" b="b"/>
            <a:pathLst>
              <a:path w="12192635">
                <a:moveTo>
                  <a:pt x="0" y="0"/>
                </a:moveTo>
                <a:lnTo>
                  <a:pt x="12192113" y="0"/>
                </a:lnTo>
              </a:path>
            </a:pathLst>
          </a:custGeom>
          <a:ln w="25400">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6" name="Textplatzhalter 20">
            <a:extLst>
              <a:ext uri="{FF2B5EF4-FFF2-40B4-BE49-F238E27FC236}">
                <a16:creationId xmlns:a16="http://schemas.microsoft.com/office/drawing/2014/main" id="{A4C3430A-7E32-784A-A054-05C3781007FF}"/>
              </a:ext>
            </a:extLst>
          </p:cNvPr>
          <p:cNvSpPr>
            <a:spLocks noGrp="1"/>
          </p:cNvSpPr>
          <p:nvPr>
            <p:ph type="body" sz="quarter" idx="16" hasCustomPrompt="1"/>
          </p:nvPr>
        </p:nvSpPr>
        <p:spPr>
          <a:xfrm>
            <a:off x="4281488" y="2626341"/>
            <a:ext cx="7453313" cy="246221"/>
          </a:xfrm>
        </p:spPr>
        <p:txBody>
          <a:bodyPr wrap="square" anchor="b">
            <a:noAutofit/>
          </a:bodyPr>
          <a:lstStyle>
            <a:lvl1pPr>
              <a:spcBef>
                <a:spcPts val="0"/>
              </a:spcBef>
              <a:defRPr sz="1600" cap="none"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Name</a:t>
            </a:r>
          </a:p>
        </p:txBody>
      </p:sp>
      <p:sp>
        <p:nvSpPr>
          <p:cNvPr id="17" name="Datumsplatzhalter 4"/>
          <p:cNvSpPr>
            <a:spLocks noGrp="1"/>
          </p:cNvSpPr>
          <p:nvPr>
            <p:ph type="dt" sz="half" idx="2"/>
          </p:nvPr>
        </p:nvSpPr>
        <p:spPr>
          <a:xfrm>
            <a:off x="4689447" y="2956184"/>
            <a:ext cx="3542640" cy="246221"/>
          </a:xfrm>
          <a:prstGeom prst="rect">
            <a:avLst/>
          </a:prstGeom>
        </p:spPr>
        <p:txBody>
          <a:bodyPr vert="horz" lIns="0" tIns="0" rIns="0" bIns="0" rtlCol="0" anchor="b">
            <a:noAutofit/>
          </a:bodyPr>
          <a:lstStyle>
            <a:lvl1pPr algn="l">
              <a:defRPr sz="16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03A1304F-7649-44CF-A1B9-F3731C5F3A19}" type="datetime4">
              <a:rPr lang="de-DE" smtClean="0"/>
              <a:t>2. Februar 2020</a:t>
            </a:fld>
            <a:endParaRPr lang="de-DE" dirty="0"/>
          </a:p>
        </p:txBody>
      </p:sp>
      <p:sp>
        <p:nvSpPr>
          <p:cNvPr id="18" name="Textfeld 17"/>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20" name="Textfeld 19"/>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21" name="Textfeld 20"/>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22" name="Textfeld 21"/>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grpSp>
        <p:nvGrpSpPr>
          <p:cNvPr id="23" name="Gruppieren 22"/>
          <p:cNvGrpSpPr/>
          <p:nvPr userDrawn="1"/>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Gerade Verbindung mit Pfeil 29"/>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0"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1"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feld 51"/>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6074236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075" name="think-cell Folie" r:id="rId5" imgW="344" imgH="345" progId="TCLayout.ActiveDocument.1">
                  <p:embed/>
                </p:oleObj>
              </mc:Choice>
              <mc:Fallback>
                <p:oleObj name="think-cell Folie" r:id="rId5" imgW="344" imgH="345" progId="TCLayout.ActiveDocument.1">
                  <p:embed/>
                  <p:pic>
                    <p:nvPicPr>
                      <p:cNvPr id="7" name="Objek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hteck 3" hidden="1"/>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hteck 12"/>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8" name="Gerade Verbindung 7"/>
          <p:cNvCxnSpPr/>
          <p:nvPr userDrawn="1"/>
        </p:nvCxnSpPr>
        <p:spPr>
          <a:xfrm>
            <a:off x="-1" y="900000"/>
            <a:ext cx="12204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5988050" y="918000"/>
            <a:ext cx="0" cy="5940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a:t>Titelmasterformat durch Klicken bearbeiten</a:t>
            </a:r>
            <a:endParaRPr lang="de-DE" dirty="0"/>
          </a:p>
        </p:txBody>
      </p:sp>
    </p:spTree>
    <p:extLst>
      <p:ext uri="{BB962C8B-B14F-4D97-AF65-F5344CB8AC3E}">
        <p14:creationId xmlns:p14="http://schemas.microsoft.com/office/powerpoint/2010/main" val="3955615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9099"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11564005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GT America" panose="020B0604020202020204" pitchFamily="34" charset="0"/>
                <a:cs typeface="GT America"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1147"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7" name="Foliennummernplatzhalter 16"/>
          <p:cNvSpPr>
            <a:spLocks noGrp="1"/>
          </p:cNvSpPr>
          <p:nvPr>
            <p:ph type="sldNum" sz="quarter" idx="17"/>
          </p:nvPr>
        </p:nvSpPr>
        <p:spPr>
          <a:xfrm>
            <a:off x="11928648" y="6453187"/>
            <a:ext cx="263350" cy="404813"/>
          </a:xfrm>
          <a:prstGeom prst="rect">
            <a:avLst/>
          </a:prstGeom>
        </p:spPr>
        <p:txBody>
          <a:bodyPr lIns="0" tIns="0" rIns="0" bIns="0" anchor="ctr" anchorCtr="0"/>
          <a:lstStyle>
            <a:lvl1pPr algn="ctr">
              <a:defRPr sz="110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a:t>
            </a:fld>
            <a:endParaRPr lang="de-DE" dirty="0"/>
          </a:p>
        </p:txBody>
      </p:sp>
      <p:sp>
        <p:nvSpPr>
          <p:cNvPr id="14" name="Textplatzhalter 15">
            <a:extLst>
              <a:ext uri="{FF2B5EF4-FFF2-40B4-BE49-F238E27FC236}">
                <a16:creationId xmlns:a16="http://schemas.microsoft.com/office/drawing/2014/main" id="{1A835BE2-55CD-2A46-97A5-3378A6C95F22}"/>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prstClr val="black"/>
            </a:outerShdw>
          </a:effectLst>
        </p:spPr>
        <p:txBody>
          <a:bodyPr wrap="square" lIns="262800" rIns="144000" bIns="208800">
            <a:spAutoFit/>
          </a:bodyPr>
          <a:lstStyle>
            <a:lvl1pPr algn="l">
              <a:lnSpc>
                <a:spcPct val="100000"/>
              </a:lnSpc>
              <a:spcBef>
                <a:spcPts val="0"/>
              </a:spcBef>
              <a:defRPr sz="2800" cap="all" spc="-70"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err="1"/>
              <a:t>KApitel</a:t>
            </a:r>
            <a:endParaRPr lang="de-DE" dirty="0"/>
          </a:p>
        </p:txBody>
      </p:sp>
    </p:spTree>
    <p:extLst>
      <p:ext uri="{BB962C8B-B14F-4D97-AF65-F5344CB8AC3E}">
        <p14:creationId xmlns:p14="http://schemas.microsoft.com/office/powerpoint/2010/main" val="72207044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2171"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335448153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3195"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a:t>
            </a:fld>
            <a:endParaRPr lang="de-DE" dirty="0"/>
          </a:p>
        </p:txBody>
      </p:sp>
    </p:spTree>
    <p:extLst>
      <p:ext uri="{BB962C8B-B14F-4D97-AF65-F5344CB8AC3E}">
        <p14:creationId xmlns:p14="http://schemas.microsoft.com/office/powerpoint/2010/main" val="37879754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88.xml"/><Relationship Id="rId3" Type="http://schemas.openxmlformats.org/officeDocument/2006/relationships/slideLayout" Target="../slideLayouts/slideLayout61.xml"/><Relationship Id="rId7" Type="http://schemas.openxmlformats.org/officeDocument/2006/relationships/vmlDrawing" Target="../drawings/vmlDrawing64.v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theme" Target="../theme/theme10.xml"/><Relationship Id="rId11" Type="http://schemas.openxmlformats.org/officeDocument/2006/relationships/image" Target="../media/image1.emf"/><Relationship Id="rId5" Type="http://schemas.openxmlformats.org/officeDocument/2006/relationships/slideLayout" Target="../slideLayouts/slideLayout63.xml"/><Relationship Id="rId10" Type="http://schemas.openxmlformats.org/officeDocument/2006/relationships/oleObject" Target="../embeddings/oleObject64.bin"/><Relationship Id="rId4" Type="http://schemas.openxmlformats.org/officeDocument/2006/relationships/slideLayout" Target="../slideLayouts/slideLayout62.xml"/><Relationship Id="rId9" Type="http://schemas.openxmlformats.org/officeDocument/2006/relationships/tags" Target="../tags/tag89.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1.xml"/><Relationship Id="rId7" Type="http://schemas.openxmlformats.org/officeDocument/2006/relationships/oleObject" Target="../embeddings/oleObject70.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tags" Target="../tags/tag96.xml"/><Relationship Id="rId5" Type="http://schemas.openxmlformats.org/officeDocument/2006/relationships/tags" Target="../tags/tag95.xml"/><Relationship Id="rId4" Type="http://schemas.openxmlformats.org/officeDocument/2006/relationships/vmlDrawing" Target="../drawings/vmlDrawing70.v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2.xml"/><Relationship Id="rId7" Type="http://schemas.openxmlformats.org/officeDocument/2006/relationships/oleObject" Target="../embeddings/oleObject73.bin"/><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ags" Target="../tags/tag100.xml"/><Relationship Id="rId5" Type="http://schemas.openxmlformats.org/officeDocument/2006/relationships/tags" Target="../tags/tag99.xml"/><Relationship Id="rId4" Type="http://schemas.openxmlformats.org/officeDocument/2006/relationships/vmlDrawing" Target="../drawings/vmlDrawing73.v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vmlDrawing" Target="../drawings/vmlDrawing76.v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13.xml"/><Relationship Id="rId17" Type="http://schemas.openxmlformats.org/officeDocument/2006/relationships/image" Target="../media/image1.emf"/><Relationship Id="rId2" Type="http://schemas.openxmlformats.org/officeDocument/2006/relationships/slideLayout" Target="../slideLayouts/slideLayout69.xml"/><Relationship Id="rId16" Type="http://schemas.openxmlformats.org/officeDocument/2006/relationships/oleObject" Target="../embeddings/oleObject76.bin"/><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ags" Target="../tags/tag104.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ags" Target="../tags/tag103.xml"/></Relationships>
</file>

<file path=ppt/slideMasters/_rels/slideMaster14.xml.rels><?xml version="1.0" encoding="UTF-8" standalone="yes"?>
<Relationships xmlns="http://schemas.openxmlformats.org/package/2006/relationships"><Relationship Id="rId8" Type="http://schemas.openxmlformats.org/officeDocument/2006/relationships/theme" Target="../theme/theme14.xml"/><Relationship Id="rId13" Type="http://schemas.openxmlformats.org/officeDocument/2006/relationships/image" Target="../media/image1.emf"/><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oleObject" Target="../embeddings/oleObject83.bin"/><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tags" Target="../tags/tag122.xml"/><Relationship Id="rId5" Type="http://schemas.openxmlformats.org/officeDocument/2006/relationships/slideLayout" Target="../slideLayouts/slideLayout83.xml"/><Relationship Id="rId10" Type="http://schemas.openxmlformats.org/officeDocument/2006/relationships/tags" Target="../tags/tag121.xml"/><Relationship Id="rId4" Type="http://schemas.openxmlformats.org/officeDocument/2006/relationships/slideLayout" Target="../slideLayouts/slideLayout82.xml"/><Relationship Id="rId9" Type="http://schemas.openxmlformats.org/officeDocument/2006/relationships/vmlDrawing" Target="../drawings/vmlDrawing84.vml"/></Relationships>
</file>

<file path=ppt/slideMasters/_rels/slideMaster15.xml.rels><?xml version="1.0" encoding="UTF-8" standalone="yes"?>
<Relationships xmlns="http://schemas.openxmlformats.org/package/2006/relationships"><Relationship Id="rId8" Type="http://schemas.openxmlformats.org/officeDocument/2006/relationships/tags" Target="../tags/tag136.xml"/><Relationship Id="rId3" Type="http://schemas.openxmlformats.org/officeDocument/2006/relationships/slideLayout" Target="../slideLayouts/slideLayout88.xml"/><Relationship Id="rId7" Type="http://schemas.openxmlformats.org/officeDocument/2006/relationships/tags" Target="../tags/tag135.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vmlDrawing" Target="../drawings/vmlDrawing91.vml"/><Relationship Id="rId5" Type="http://schemas.openxmlformats.org/officeDocument/2006/relationships/theme" Target="../theme/theme15.xml"/><Relationship Id="rId10" Type="http://schemas.openxmlformats.org/officeDocument/2006/relationships/image" Target="../media/image1.emf"/><Relationship Id="rId4" Type="http://schemas.openxmlformats.org/officeDocument/2006/relationships/slideLayout" Target="../slideLayouts/slideLayout89.xml"/><Relationship Id="rId9" Type="http://schemas.openxmlformats.org/officeDocument/2006/relationships/oleObject" Target="../embeddings/oleObject89.bin"/></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13" Type="http://schemas.openxmlformats.org/officeDocument/2006/relationships/image" Target="../media/image1.emf"/><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oleObject" Target="../embeddings/oleObject94.bin"/><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tags" Target="../tags/tag145.xml"/><Relationship Id="rId5" Type="http://schemas.openxmlformats.org/officeDocument/2006/relationships/slideLayout" Target="../slideLayouts/slideLayout94.xml"/><Relationship Id="rId10" Type="http://schemas.openxmlformats.org/officeDocument/2006/relationships/tags" Target="../tags/tag144.xml"/><Relationship Id="rId4" Type="http://schemas.openxmlformats.org/officeDocument/2006/relationships/slideLayout" Target="../slideLayouts/slideLayout93.xml"/><Relationship Id="rId9" Type="http://schemas.openxmlformats.org/officeDocument/2006/relationships/vmlDrawing" Target="../drawings/vmlDrawing96.v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tags" Target="../tags/tag155.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vmlDrawing" Target="../drawings/vmlDrawing104.v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heme" Target="../theme/theme17.xml"/><Relationship Id="rId5" Type="http://schemas.openxmlformats.org/officeDocument/2006/relationships/slideLayout" Target="../slideLayouts/slideLayout101.xml"/><Relationship Id="rId15" Type="http://schemas.openxmlformats.org/officeDocument/2006/relationships/image" Target="../media/image1.emf"/><Relationship Id="rId10" Type="http://schemas.openxmlformats.org/officeDocument/2006/relationships/slideLayout" Target="../slideLayouts/slideLayout106.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oleObject" Target="../embeddings/oleObject102.bin"/></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vmlDrawing" Target="../drawings/vmlDrawing115.vml"/><Relationship Id="rId3" Type="http://schemas.openxmlformats.org/officeDocument/2006/relationships/slideLayout" Target="../slideLayouts/slideLayout109.xml"/><Relationship Id="rId21" Type="http://schemas.openxmlformats.org/officeDocument/2006/relationships/oleObject" Target="../embeddings/oleObject113.bin"/><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theme" Target="../theme/theme18.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tags" Target="../tags/tag16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10" Type="http://schemas.openxmlformats.org/officeDocument/2006/relationships/slideLayout" Target="../slideLayouts/slideLayout116.xml"/><Relationship Id="rId19" Type="http://schemas.openxmlformats.org/officeDocument/2006/relationships/tags" Target="../tags/tag167.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2.xml"/><Relationship Id="rId18" Type="http://schemas.openxmlformats.org/officeDocument/2006/relationships/image" Target="../media/image1.emf"/><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oleObject" Target="../embeddings/oleObject8.bin"/><Relationship Id="rId2" Type="http://schemas.openxmlformats.org/officeDocument/2006/relationships/slideLayout" Target="../slideLayouts/slideLayout8.xml"/><Relationship Id="rId16" Type="http://schemas.openxmlformats.org/officeDocument/2006/relationships/tags" Target="../tags/tag13.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tags" Target="../tags/tag12.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vmlDrawing" Target="../drawings/vmlDrawing8.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ags" Target="../tags/tag29.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vmlDrawing" Target="../drawings/vmlDrawing19.vml"/><Relationship Id="rId2" Type="http://schemas.openxmlformats.org/officeDocument/2006/relationships/slideLayout" Target="../slideLayouts/slideLayout20.xml"/><Relationship Id="rId16" Type="http://schemas.openxmlformats.org/officeDocument/2006/relationships/image" Target="../media/image1.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3.xml"/><Relationship Id="rId5" Type="http://schemas.openxmlformats.org/officeDocument/2006/relationships/slideLayout" Target="../slideLayouts/slideLayout23.xml"/><Relationship Id="rId15" Type="http://schemas.openxmlformats.org/officeDocument/2006/relationships/oleObject" Target="../embeddings/oleObject19.bin"/><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ags" Target="../tags/tag30.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1.emf"/><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oleObject" Target="../embeddings/oleObject28.bin"/><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ags" Target="../tags/tag43.xml"/><Relationship Id="rId5" Type="http://schemas.openxmlformats.org/officeDocument/2006/relationships/slideLayout" Target="../slideLayouts/slideLayout33.xml"/><Relationship Id="rId10" Type="http://schemas.openxmlformats.org/officeDocument/2006/relationships/tags" Target="../tags/tag42.xml"/><Relationship Id="rId4" Type="http://schemas.openxmlformats.org/officeDocument/2006/relationships/slideLayout" Target="../slideLayouts/slideLayout32.xml"/><Relationship Id="rId9" Type="http://schemas.openxmlformats.org/officeDocument/2006/relationships/vmlDrawing" Target="../drawings/vmlDrawing28.v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3.xml"/><Relationship Id="rId3" Type="http://schemas.openxmlformats.org/officeDocument/2006/relationships/slideLayout" Target="../slideLayouts/slideLayout38.xml"/><Relationship Id="rId7" Type="http://schemas.openxmlformats.org/officeDocument/2006/relationships/tags" Target="../tags/tag5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vmlDrawing" Target="../drawings/vmlDrawing36.vml"/><Relationship Id="rId5" Type="http://schemas.openxmlformats.org/officeDocument/2006/relationships/theme" Target="../theme/theme5.xml"/><Relationship Id="rId10" Type="http://schemas.openxmlformats.org/officeDocument/2006/relationships/image" Target="../media/image1.emf"/><Relationship Id="rId4" Type="http://schemas.openxmlformats.org/officeDocument/2006/relationships/slideLayout" Target="../slideLayouts/slideLayout39.xml"/><Relationship Id="rId9" Type="http://schemas.openxmlformats.org/officeDocument/2006/relationships/oleObject" Target="../embeddings/oleObject36.bin"/></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61.xml"/><Relationship Id="rId3" Type="http://schemas.openxmlformats.org/officeDocument/2006/relationships/slideLayout" Target="../slideLayouts/slideLayout42.xml"/><Relationship Id="rId7" Type="http://schemas.openxmlformats.org/officeDocument/2006/relationships/vmlDrawing" Target="../drawings/vmlDrawing41.v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theme" Target="../theme/theme6.xml"/><Relationship Id="rId11" Type="http://schemas.openxmlformats.org/officeDocument/2006/relationships/image" Target="../media/image1.emf"/><Relationship Id="rId5" Type="http://schemas.openxmlformats.org/officeDocument/2006/relationships/slideLayout" Target="../slideLayouts/slideLayout44.xml"/><Relationship Id="rId10" Type="http://schemas.openxmlformats.org/officeDocument/2006/relationships/oleObject" Target="../embeddings/oleObject41.bin"/><Relationship Id="rId4" Type="http://schemas.openxmlformats.org/officeDocument/2006/relationships/slideLayout" Target="../slideLayouts/slideLayout43.xml"/><Relationship Id="rId9" Type="http://schemas.openxmlformats.org/officeDocument/2006/relationships/tags" Target="../tags/tag62.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slideLayout" Target="../slideLayouts/slideLayout47.xml"/><Relationship Id="rId7" Type="http://schemas.openxmlformats.org/officeDocument/2006/relationships/tags" Target="../tags/tag68.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vmlDrawing" Target="../drawings/vmlDrawing47.vml"/><Relationship Id="rId5" Type="http://schemas.openxmlformats.org/officeDocument/2006/relationships/theme" Target="../theme/theme7.xml"/><Relationship Id="rId10" Type="http://schemas.openxmlformats.org/officeDocument/2006/relationships/image" Target="../media/image1.emf"/><Relationship Id="rId4" Type="http://schemas.openxmlformats.org/officeDocument/2006/relationships/slideLayout" Target="../slideLayouts/slideLayout48.xml"/><Relationship Id="rId9" Type="http://schemas.openxmlformats.org/officeDocument/2006/relationships/oleObject" Target="../embeddings/oleObject47.bin"/></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slideLayout" Target="../slideLayouts/slideLayout51.xml"/><Relationship Id="rId7" Type="http://schemas.openxmlformats.org/officeDocument/2006/relationships/vmlDrawing" Target="../drawings/vmlDrawing52.v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8.xml"/><Relationship Id="rId11" Type="http://schemas.openxmlformats.org/officeDocument/2006/relationships/image" Target="../media/image1.emf"/><Relationship Id="rId5" Type="http://schemas.openxmlformats.org/officeDocument/2006/relationships/slideLayout" Target="../slideLayouts/slideLayout53.xml"/><Relationship Id="rId10" Type="http://schemas.openxmlformats.org/officeDocument/2006/relationships/oleObject" Target="../embeddings/oleObject52.bin"/><Relationship Id="rId4" Type="http://schemas.openxmlformats.org/officeDocument/2006/relationships/slideLayout" Target="../slideLayouts/slideLayout52.xml"/><Relationship Id="rId9" Type="http://schemas.openxmlformats.org/officeDocument/2006/relationships/tags" Target="../tags/tag75.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slideLayout" Target="../slideLayouts/slideLayout56.xml"/><Relationship Id="rId7" Type="http://schemas.openxmlformats.org/officeDocument/2006/relationships/vmlDrawing" Target="../drawings/vmlDrawing58.v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9.xml"/><Relationship Id="rId11" Type="http://schemas.openxmlformats.org/officeDocument/2006/relationships/image" Target="../media/image1.emf"/><Relationship Id="rId5" Type="http://schemas.openxmlformats.org/officeDocument/2006/relationships/slideLayout" Target="../slideLayouts/slideLayout58.xml"/><Relationship Id="rId10" Type="http://schemas.openxmlformats.org/officeDocument/2006/relationships/oleObject" Target="../embeddings/oleObject58.bin"/><Relationship Id="rId4" Type="http://schemas.openxmlformats.org/officeDocument/2006/relationships/slideLayout" Target="../slideLayouts/slideLayout57.xml"/><Relationship Id="rId9" Type="http://schemas.openxmlformats.org/officeDocument/2006/relationships/tags" Target="../tags/tag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9"/>
            </p:custDataLst>
            <p:extLst>
              <p:ext uri="{D42A27DB-BD31-4B8C-83A1-F6EECF244321}">
                <p14:modId xmlns:p14="http://schemas.microsoft.com/office/powerpoint/2010/main" val="3687055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0423" name="think-cell Folie" r:id="rId11" imgW="344" imgH="345" progId="TCLayout.ActiveDocument.1">
                  <p:embed/>
                </p:oleObj>
              </mc:Choice>
              <mc:Fallback>
                <p:oleObj name="think-cell Folie" r:id="rId11" imgW="344" imgH="345"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10"/>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grpSp>
        <p:nvGrpSpPr>
          <p:cNvPr id="120" name="Gruppieren 119"/>
          <p:cNvGrpSpPr/>
          <p:nvPr/>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
        <p:nvSpPr>
          <p:cNvPr id="41" name="object 4">
            <a:extLst>
              <a:ext uri="{FF2B5EF4-FFF2-40B4-BE49-F238E27FC236}">
                <a16:creationId xmlns:a16="http://schemas.microsoft.com/office/drawing/2014/main" id="{F1407FCD-A98D-8D4C-BAEA-A83B72042659}"/>
              </a:ext>
            </a:extLst>
          </p:cNvPr>
          <p:cNvSpPr/>
          <p:nvPr/>
        </p:nvSpPr>
        <p:spPr>
          <a:xfrm>
            <a:off x="0" y="899999"/>
            <a:ext cx="12192635" cy="0"/>
          </a:xfrm>
          <a:custGeom>
            <a:avLst/>
            <a:gdLst/>
            <a:ahLst/>
            <a:cxnLst/>
            <a:rect l="l" t="t" r="r" b="b"/>
            <a:pathLst>
              <a:path w="12192635">
                <a:moveTo>
                  <a:pt x="0" y="0"/>
                </a:moveTo>
                <a:lnTo>
                  <a:pt x="12192113" y="0"/>
                </a:lnTo>
              </a:path>
            </a:pathLst>
          </a:custGeom>
          <a:ln w="25400">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418597041"/>
      </p:ext>
    </p:extLst>
  </p:cSld>
  <p:clrMap bg1="lt1" tx1="dk1" bg2="lt2" tx2="dk2" accent1="accent1" accent2="accent2" accent3="accent3" accent4="accent4" accent5="accent5" accent6="accent6" hlink="hlink" folHlink="folHlink"/>
  <p:sldLayoutIdLst>
    <p:sldLayoutId id="2147483796" r:id="rId1"/>
    <p:sldLayoutId id="2147483786" r:id="rId2"/>
    <p:sldLayoutId id="2147483929" r:id="rId3"/>
    <p:sldLayoutId id="2147483930" r:id="rId4"/>
    <p:sldLayoutId id="2147483931" r:id="rId5"/>
    <p:sldLayoutId id="2147483780" r:id="rId6"/>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1785994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5453" name="think-cell Folie" r:id="rId10" imgW="344" imgH="345" progId="TCLayout.ActiveDocument.1">
                  <p:embed/>
                </p:oleObj>
              </mc:Choice>
              <mc:Fallback>
                <p:oleObj name="think-cell Folie" r:id="rId10" imgW="344" imgH="345"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9"/>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13042183"/>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80" r:id="rId3"/>
    <p:sldLayoutId id="2147483960" r:id="rId4"/>
    <p:sldLayoutId id="2147483903" r:id="rId5"/>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5"/>
            </p:custDataLst>
            <p:extLst>
              <p:ext uri="{D42A27DB-BD31-4B8C-83A1-F6EECF244321}">
                <p14:modId xmlns:p14="http://schemas.microsoft.com/office/powerpoint/2010/main" val="4027897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7908" name="think-cell Folie" r:id="rId7" imgW="344" imgH="345" progId="TCLayout.ActiveDocument.1">
                  <p:embed/>
                </p:oleObj>
              </mc:Choice>
              <mc:Fallback>
                <p:oleObj name="think-cell Folie" r:id="rId7" imgW="344" imgH="345"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6"/>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229765323"/>
      </p:ext>
    </p:extLst>
  </p:cSld>
  <p:clrMap bg1="lt1" tx1="dk1" bg2="lt2" tx2="dk2" accent1="accent1" accent2="accent2" accent3="accent3" accent4="accent4" accent5="accent5" accent6="accent6" hlink="hlink" folHlink="folHlink"/>
  <p:sldLayoutIdLst>
    <p:sldLayoutId id="2147483886" r:id="rId1"/>
    <p:sldLayoutId id="2147483961" r:id="rId2"/>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5"/>
            </p:custDataLst>
            <p:extLst>
              <p:ext uri="{D42A27DB-BD31-4B8C-83A1-F6EECF244321}">
                <p14:modId xmlns:p14="http://schemas.microsoft.com/office/powerpoint/2010/main" val="1135182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7740" name="think-cell Folie" r:id="rId7" imgW="344" imgH="345" progId="TCLayout.ActiveDocument.1">
                  <p:embed/>
                </p:oleObj>
              </mc:Choice>
              <mc:Fallback>
                <p:oleObj name="think-cell Folie" r:id="rId7" imgW="344" imgH="345"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6"/>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2320911355"/>
      </p:ext>
    </p:extLst>
  </p:cSld>
  <p:clrMap bg1="lt1" tx1="dk1" bg2="lt2" tx2="dk2" accent1="accent1" accent2="accent2" accent3="accent3" accent4="accent4" accent5="accent5" accent6="accent6" hlink="hlink" folHlink="folHlink"/>
  <p:sldLayoutIdLst>
    <p:sldLayoutId id="2147483962" r:id="rId1"/>
    <p:sldLayoutId id="2147483963" r:id="rId2"/>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1235" name="think-cell Folie" r:id="rId16" imgW="344" imgH="345" progId="TCLayout.ActiveDocument.1">
                  <p:embed/>
                </p:oleObj>
              </mc:Choice>
              <mc:Fallback>
                <p:oleObj name="think-cell Folie" r:id="rId16" imgW="344" imgH="345" progId="TCLayout.ActiveDocument.1">
                  <p:embed/>
                  <p:pic>
                    <p:nvPicPr>
                      <p:cNvPr id="8" name="Objekt 7"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4" name="Textfeld 3"/>
          <p:cNvSpPr txBox="1"/>
          <p:nvPr/>
        </p:nvSpPr>
        <p:spPr>
          <a:xfrm rot="16200000">
            <a:off x="8626100" y="3302372"/>
            <a:ext cx="6868273"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000">
                <a:solidFill>
                  <a:schemeClr val="accent5"/>
                </a:solidFill>
              </a:defRPr>
            </a:lvl1pPr>
          </a:lstStyle>
          <a:p>
            <a:fld id="{4CFEB0D3-1EB3-4F08-8062-95FFB9749870}" type="slidenum">
              <a:rPr lang="de-DE" smtClean="0"/>
              <a:pPr/>
              <a:t>‹#›</a:t>
            </a:fld>
            <a:endParaRPr lang="de-DE" dirty="0"/>
          </a:p>
        </p:txBody>
      </p:sp>
      <p:cxnSp>
        <p:nvCxnSpPr>
          <p:cNvPr id="24" name="Gerade Verbindung 23"/>
          <p:cNvCxnSpPr/>
          <p:nvPr/>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t>Textbox</a:t>
            </a:r>
          </a:p>
        </p:txBody>
      </p:sp>
      <p:cxnSp>
        <p:nvCxnSpPr>
          <p:cNvPr id="77" name="Gerade Verbindung 76"/>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t>Vier</a:t>
            </a:r>
            <a:r>
              <a:rPr lang="de-DE" sz="1200" baseline="0" noProof="0" dirty="0"/>
              <a:t> </a:t>
            </a:r>
            <a:r>
              <a:rPr lang="de-DE" sz="1200" noProof="0" dirty="0"/>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t>Drei</a:t>
            </a:r>
            <a:r>
              <a:rPr lang="de-DE" sz="1200" baseline="0" noProof="0" dirty="0"/>
              <a:t> </a:t>
            </a:r>
            <a:r>
              <a:rPr lang="de-DE" sz="1200" noProof="0" dirty="0"/>
              <a:t>Spalten</a:t>
            </a:r>
          </a:p>
        </p:txBody>
      </p:sp>
      <p:cxnSp>
        <p:nvCxnSpPr>
          <p:cNvPr id="102" name="Gerade Verbindung mit Pfeil 101"/>
          <p:cNvCxnSpPr/>
          <p:nvPr/>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t>Zwei Spalten</a:t>
            </a:r>
          </a:p>
        </p:txBody>
      </p:sp>
      <p:cxnSp>
        <p:nvCxnSpPr>
          <p:cNvPr id="108" name="Gerade Verbindung 107"/>
          <p:cNvCxnSpPr/>
          <p:nvPr/>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6" name="Textfeld 35"/>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34" name="Fußzeilenplatzhalter 4"/>
          <p:cNvSpPr txBox="1">
            <a:spLocks/>
          </p:cNvSpPr>
          <p:nvPr/>
        </p:nvSpPr>
        <p:spPr>
          <a:xfrm rot="16200000">
            <a:off x="9754903" y="4016090"/>
            <a:ext cx="4610665" cy="263525"/>
          </a:xfrm>
          <a:prstGeom prst="rect">
            <a:avLst/>
          </a:prstGeom>
          <a:noFill/>
        </p:spPr>
        <p:txBody>
          <a:bodyPr vert="horz" lIns="0" tIns="0" rIns="36000" bIns="0" rtlCol="0" anchor="ctr"/>
          <a:lstStyle>
            <a:defPPr>
              <a:defRPr lang="de-DE"/>
            </a:defPPr>
            <a:lvl1pPr marL="0" algn="r" defTabSz="914400" rtl="0" eaLnBrk="1" latinLnBrk="0" hangingPunct="1">
              <a:defRPr sz="800" kern="1200" spc="-20" baseline="0">
                <a:solidFill>
                  <a:schemeClr val="accent5"/>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Präsentationtitel</a:t>
            </a:r>
            <a:endParaRPr lang="de-DE" dirty="0"/>
          </a:p>
        </p:txBody>
      </p:sp>
    </p:spTree>
    <p:extLst>
      <p:ext uri="{BB962C8B-B14F-4D97-AF65-F5344CB8AC3E}">
        <p14:creationId xmlns:p14="http://schemas.microsoft.com/office/powerpoint/2010/main" val="3185429997"/>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Lst>
  <p:hf hdr="0"/>
  <p:txStyles>
    <p:titleStyle>
      <a:lvl1pPr algn="l" defTabSz="914400" rtl="0" eaLnBrk="1" latinLnBrk="0" hangingPunct="1">
        <a:lnSpc>
          <a:spcPct val="100000"/>
        </a:lnSpc>
        <a:spcBef>
          <a:spcPct val="0"/>
        </a:spcBef>
        <a:buNone/>
        <a:defRPr sz="2800" kern="1200" cap="all" spc="-7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0"/>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9427" name="think-cell Folie" r:id="rId12" imgW="344" imgH="345" progId="TCLayout.ActiveDocument.1">
                  <p:embed/>
                </p:oleObj>
              </mc:Choice>
              <mc:Fallback>
                <p:oleObj name="think-cell Folie" r:id="rId12" imgW="344" imgH="345" progId="TCLayout.ActiveDocument.1">
                  <p:embed/>
                  <p:pic>
                    <p:nvPicPr>
                      <p:cNvPr id="8" name="Objekt 7"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7" name="Rechteck 6" hidden="1"/>
          <p:cNvSpPr/>
          <p:nvPr>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800" b="0" i="0" baseline="0" dirty="0">
              <a:latin typeface="GT America"/>
              <a:ea typeface="+mj-ea"/>
              <a:cs typeface="+mj-cs"/>
              <a:sym typeface="GT America"/>
            </a:endParaRPr>
          </a:p>
        </p:txBody>
      </p:sp>
      <p:sp>
        <p:nvSpPr>
          <p:cNvPr id="4" name="Textfeld 3"/>
          <p:cNvSpPr txBox="1"/>
          <p:nvPr/>
        </p:nvSpPr>
        <p:spPr>
          <a:xfrm rot="16200000">
            <a:off x="8626101" y="3302372"/>
            <a:ext cx="6868274"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mn-lt"/>
              <a:ea typeface="+mn-ea"/>
              <a:cs typeface="+mn-cs"/>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rm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000">
                <a:solidFill>
                  <a:schemeClr val="accent5"/>
                </a:solidFill>
              </a:defRPr>
            </a:lvl1pPr>
          </a:lstStyle>
          <a:p>
            <a:fld id="{4CFEB0D3-1EB3-4F08-8062-95FFB9749870}" type="slidenum">
              <a:rPr lang="de-DE" smtClean="0"/>
              <a:pPr/>
              <a:t>‹#›</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t>Vier</a:t>
            </a:r>
            <a:r>
              <a:rPr lang="de-DE" sz="1200" baseline="0" noProof="0" dirty="0"/>
              <a:t> </a:t>
            </a:r>
            <a:r>
              <a:rPr lang="de-DE" sz="1200" noProof="0" dirty="0"/>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t>Drei</a:t>
            </a:r>
            <a:r>
              <a:rPr lang="de-DE" sz="1200" baseline="0" noProof="0" dirty="0"/>
              <a:t> </a:t>
            </a:r>
            <a:r>
              <a:rPr lang="de-DE" sz="1200" noProof="0" dirty="0"/>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t>Zwei Spalten</a:t>
            </a:r>
          </a:p>
        </p:txBody>
      </p:sp>
      <p:grpSp>
        <p:nvGrpSpPr>
          <p:cNvPr id="13" name="Gruppieren 12"/>
          <p:cNvGrpSpPr/>
          <p:nvPr/>
        </p:nvGrpSpPr>
        <p:grpSpPr>
          <a:xfrm>
            <a:off x="-276708" y="-835143"/>
            <a:ext cx="11989332" cy="7972555"/>
            <a:chOff x="-276708" y="-835143"/>
            <a:chExt cx="11989332"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39" name="Textfeld 3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mn-lt"/>
                <a:ea typeface="+mn-ea"/>
                <a:cs typeface="+mn-cs"/>
              </a:rPr>
              <a:t>© Rödl &amp; Partner </a:t>
            </a:r>
          </a:p>
        </p:txBody>
      </p:sp>
      <p:sp>
        <p:nvSpPr>
          <p:cNvPr id="36"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7" name="Fußzeilenplatzhalter 4"/>
          <p:cNvSpPr>
            <a:spLocks noGrp="1"/>
          </p:cNvSpPr>
          <p:nvPr>
            <p:ph type="ftr" sz="quarter" idx="3"/>
          </p:nvPr>
        </p:nvSpPr>
        <p:spPr>
          <a:xfrm rot="16200000">
            <a:off x="9754903" y="4016090"/>
            <a:ext cx="4610665" cy="263525"/>
          </a:xfrm>
          <a:prstGeom prst="rect">
            <a:avLst/>
          </a:prstGeom>
          <a:noFill/>
        </p:spPr>
        <p:txBody>
          <a:bodyPr vert="horz" lIns="0" tIns="0" rIns="36000" bIns="0" rtlCol="0" anchor="ctr"/>
          <a:lstStyle>
            <a:lvl1pPr algn="r">
              <a:defRPr sz="800" spc="-20" baseline="0">
                <a:solidFill>
                  <a:schemeClr val="accent5"/>
                </a:solidFill>
              </a:defRPr>
            </a:lvl1pPr>
          </a:lstStyle>
          <a:p>
            <a:r>
              <a:rPr lang="de-DE"/>
              <a:t>Aufbau Vertrieb und Produktion in Indien</a:t>
            </a:r>
            <a:endParaRPr lang="de-DE" dirty="0"/>
          </a:p>
        </p:txBody>
      </p:sp>
    </p:spTree>
    <p:extLst>
      <p:ext uri="{BB962C8B-B14F-4D97-AF65-F5344CB8AC3E}">
        <p14:creationId xmlns:p14="http://schemas.microsoft.com/office/powerpoint/2010/main" val="3033861997"/>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Lst>
  <p:hf hdr="0"/>
  <p:txStyles>
    <p:titleStyle>
      <a:lvl1pPr algn="l" defTabSz="914400" rtl="0" eaLnBrk="1" latinLnBrk="0" hangingPunct="1">
        <a:lnSpc>
          <a:spcPct val="100000"/>
        </a:lnSpc>
        <a:spcBef>
          <a:spcPct val="0"/>
        </a:spcBef>
        <a:buNone/>
        <a:defRPr sz="2800" kern="1200" cap="all" spc="-70" baseline="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2"/>
          </a:solidFill>
          <a:latin typeface="+mn-lt"/>
          <a:ea typeface="+mn-ea"/>
          <a:cs typeface="+mn-cs"/>
        </a:defRPr>
      </a:lvl1pPr>
      <a:lvl2pPr marL="216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2pPr>
      <a:lvl3pPr marL="432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3pPr>
      <a:lvl4pPr marL="648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4pPr>
      <a:lvl5pPr marL="864000" indent="-216000" algn="l" defTabSz="914400" rtl="0" eaLnBrk="1" latinLnBrk="0" hangingPunct="1">
        <a:lnSpc>
          <a:spcPct val="100000"/>
        </a:lnSpc>
        <a:spcBef>
          <a:spcPts val="500"/>
        </a:spcBef>
        <a:buFont typeface="Lucida Grande"/>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7"/>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11" name="think-cell Folie" r:id="rId9" imgW="344" imgH="345" progId="TCLayout.ActiveDocument.1">
                  <p:embed/>
                </p:oleObj>
              </mc:Choice>
              <mc:Fallback>
                <p:oleObj name="think-cell Folie" r:id="rId9" imgW="344" imgH="345" progId="TCLayout.ActiveDocument.1">
                  <p:embed/>
                  <p:pic>
                    <p:nvPicPr>
                      <p:cNvPr id="8" name="Objekt 7"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6" name="Rechteck 5" hidden="1"/>
          <p:cNvSpPr/>
          <p:nvPr>
            <p:custDataLst>
              <p:tags r:id="rId8"/>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feld 3"/>
          <p:cNvSpPr txBox="1"/>
          <p:nvPr/>
        </p:nvSpPr>
        <p:spPr>
          <a:xfrm rot="16200000">
            <a:off x="8627636" y="3293636"/>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2" y="960180"/>
            <a:ext cx="696840"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sp>
        <p:nvSpPr>
          <p:cNvPr id="36" name="Textfeld 35"/>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platzhalter 1"/>
          <p:cNvSpPr>
            <a:spLocks noGrp="1"/>
          </p:cNvSpPr>
          <p:nvPr>
            <p:ph type="title"/>
          </p:nvPr>
        </p:nvSpPr>
        <p:spPr>
          <a:xfrm>
            <a:off x="263352" y="260350"/>
            <a:ext cx="11448000" cy="395288"/>
          </a:xfrm>
          <a:prstGeom prst="rect">
            <a:avLst/>
          </a:prstGeom>
        </p:spPr>
        <p:txBody>
          <a:bodyPr vert="horz" lIns="0" tIns="0" rIns="0" bIns="0" rtlCol="0" anchor="ctr">
            <a:noAutofit/>
          </a:bodyPr>
          <a:lstStyle/>
          <a:p>
            <a:pPr lvl="0"/>
            <a:r>
              <a:rPr lang="de-DE" dirty="0"/>
              <a:t>Titelmasterformat durch Klicken bearbeiten</a:t>
            </a:r>
          </a:p>
        </p:txBody>
      </p:sp>
      <p:sp>
        <p:nvSpPr>
          <p:cNvPr id="37"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grpSp>
        <p:nvGrpSpPr>
          <p:cNvPr id="61" name="Gruppieren 60"/>
          <p:cNvGrpSpPr/>
          <p:nvPr/>
        </p:nvGrpSpPr>
        <p:grpSpPr>
          <a:xfrm>
            <a:off x="-276708" y="-835143"/>
            <a:ext cx="12205181" cy="7972555"/>
            <a:chOff x="-276708" y="-835143"/>
            <a:chExt cx="12205181" cy="7972555"/>
          </a:xfrm>
        </p:grpSpPr>
        <p:cxnSp>
          <p:nvCxnSpPr>
            <p:cNvPr id="62" name="Gerade Verbindung 6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mit Pfeil 6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Gerade Verbindung mit Pfeil 6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Gerade Verbindung mit Pfeil 6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9" name="Gerade Verbindung mit Pfeil 6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Gerade Verbindung mit Pfeil 6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Gerade Verbindung mit Pfeil 7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84" name="Textfeld 8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4869521"/>
      </p:ext>
    </p:extLst>
  </p:cSld>
  <p:clrMap bg1="lt1" tx1="dk1" bg2="lt2" tx2="dk2" accent1="accent1" accent2="accent2" accent3="accent3" accent4="accent4" accent5="accent5" accent6="accent6" hlink="hlink" folHlink="folHlink"/>
  <p:sldLayoutIdLst>
    <p:sldLayoutId id="2147483996" r:id="rId1"/>
    <p:sldLayoutId id="2147483997" r:id="rId2"/>
    <p:sldLayoutId id="2147483998" r:id="rId3"/>
    <p:sldLayoutId id="2147483999" r:id="rId4"/>
  </p:sldLayoutIdLst>
  <p:hf hdr="0" ftr="0"/>
  <p:txStyles>
    <p:titleStyle>
      <a:lvl1pPr algn="l" defTabSz="914400" rtl="0" eaLnBrk="1" latinLnBrk="0" hangingPunct="1">
        <a:lnSpc>
          <a:spcPct val="100000"/>
        </a:lnSpc>
        <a:spcBef>
          <a:spcPct val="0"/>
        </a:spcBef>
        <a:buNone/>
        <a:defRPr lang="de-DE" sz="2800" kern="1200" cap="all" spc="-70" baseline="0" dirty="0" smtClean="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0"/>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931" name="think-cell Folie" r:id="rId12" imgW="344" imgH="345" progId="TCLayout.ActiveDocument.1">
                  <p:embed/>
                </p:oleObj>
              </mc:Choice>
              <mc:Fallback>
                <p:oleObj name="think-cell Folie" r:id="rId12" imgW="344" imgH="345" progId="TCLayout.ActiveDocument.1">
                  <p:embed/>
                  <p:pic>
                    <p:nvPicPr>
                      <p:cNvPr id="8" name="Objekt 7"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11"/>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grpSp>
        <p:nvGrpSpPr>
          <p:cNvPr id="120" name="Gruppieren 119"/>
          <p:cNvGrpSpPr/>
          <p:nvPr/>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
        <p:nvSpPr>
          <p:cNvPr id="41" name="object 4">
            <a:extLst>
              <a:ext uri="{FF2B5EF4-FFF2-40B4-BE49-F238E27FC236}">
                <a16:creationId xmlns:a16="http://schemas.microsoft.com/office/drawing/2014/main" id="{F1407FCD-A98D-8D4C-BAEA-A83B72042659}"/>
              </a:ext>
            </a:extLst>
          </p:cNvPr>
          <p:cNvSpPr/>
          <p:nvPr/>
        </p:nvSpPr>
        <p:spPr>
          <a:xfrm>
            <a:off x="0" y="899999"/>
            <a:ext cx="12192635" cy="0"/>
          </a:xfrm>
          <a:custGeom>
            <a:avLst/>
            <a:gdLst/>
            <a:ahLst/>
            <a:cxnLst/>
            <a:rect l="l" t="t" r="r" b="b"/>
            <a:pathLst>
              <a:path w="12192635">
                <a:moveTo>
                  <a:pt x="0" y="0"/>
                </a:moveTo>
                <a:lnTo>
                  <a:pt x="12192113" y="0"/>
                </a:lnTo>
              </a:path>
            </a:pathLst>
          </a:custGeom>
          <a:ln w="25400">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94490517"/>
      </p:ext>
    </p:extLst>
  </p:cSld>
  <p:clrMap bg1="lt1" tx1="dk1" bg2="lt2" tx2="dk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 id="2147484005" r:id="rId5"/>
    <p:sldLayoutId id="2147484006" r:id="rId6"/>
    <p:sldLayoutId id="2147484007" r:id="rId7"/>
  </p:sldLayoutIdLst>
  <p:hf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123" name="think-cell Folie" r:id="rId14" imgW="344" imgH="345" progId="TCLayout.ActiveDocument.1">
                  <p:embed/>
                </p:oleObj>
              </mc:Choice>
              <mc:Fallback>
                <p:oleObj name="think-cell Folie" r:id="rId14" imgW="344" imgH="345" progId="TCLayout.ActiveDocument.1">
                  <p:embed/>
                  <p:pic>
                    <p:nvPicPr>
                      <p:cNvPr id="8" name="Objekt 7" hidden="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120" name="Gruppieren 119"/>
          <p:cNvGrpSpPr/>
          <p:nvPr/>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
        <p:nvSpPr>
          <p:cNvPr id="41" name="object 4">
            <a:extLst>
              <a:ext uri="{FF2B5EF4-FFF2-40B4-BE49-F238E27FC236}">
                <a16:creationId xmlns:a16="http://schemas.microsoft.com/office/drawing/2014/main" id="{F1407FCD-A98D-8D4C-BAEA-A83B72042659}"/>
              </a:ext>
            </a:extLst>
          </p:cNvPr>
          <p:cNvSpPr/>
          <p:nvPr/>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37" name="Textfeld 36"/>
          <p:cNvSpPr txBox="1"/>
          <p:nvPr userDrawn="1"/>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Tree>
    <p:extLst>
      <p:ext uri="{BB962C8B-B14F-4D97-AF65-F5344CB8AC3E}">
        <p14:creationId xmlns:p14="http://schemas.microsoft.com/office/powerpoint/2010/main" val="2419679452"/>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Lst>
  <p:hf sldNum="0" hd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9"/>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28" name="think-cell Folie" r:id="rId21" imgW="344" imgH="345" progId="TCLayout.ActiveDocument.1">
                  <p:embed/>
                </p:oleObj>
              </mc:Choice>
              <mc:Fallback>
                <p:oleObj name="think-cell Folie" r:id="rId21" imgW="344" imgH="345" progId="TCLayout.ActiveDocument.1">
                  <p:embed/>
                  <p:pic>
                    <p:nvPicPr>
                      <p:cNvPr id="8" name="Objekt 7"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20"/>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grpSp>
        <p:nvGrpSpPr>
          <p:cNvPr id="120" name="Gruppieren 119"/>
          <p:cNvGrpSpPr/>
          <p:nvPr/>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
        <p:nvSpPr>
          <p:cNvPr id="41" name="object 4">
            <a:extLst>
              <a:ext uri="{FF2B5EF4-FFF2-40B4-BE49-F238E27FC236}">
                <a16:creationId xmlns:a16="http://schemas.microsoft.com/office/drawing/2014/main" id="{F1407FCD-A98D-8D4C-BAEA-A83B72042659}"/>
              </a:ext>
            </a:extLst>
          </p:cNvPr>
          <p:cNvSpPr/>
          <p:nvPr/>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28634793"/>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 id="2147484032" r:id="rId13"/>
    <p:sldLayoutId id="2147484033" r:id="rId14"/>
    <p:sldLayoutId id="2147484034" r:id="rId15"/>
    <p:sldLayoutId id="2147484035" r:id="rId16"/>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5"/>
            </p:custDataLst>
            <p:extLst>
              <p:ext uri="{D42A27DB-BD31-4B8C-83A1-F6EECF244321}">
                <p14:modId xmlns:p14="http://schemas.microsoft.com/office/powerpoint/2010/main" val="2999385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92" name="think-cell Folie" r:id="rId17" imgW="344" imgH="345" progId="TCLayout.ActiveDocument.1">
                  <p:embed/>
                </p:oleObj>
              </mc:Choice>
              <mc:Fallback>
                <p:oleObj name="think-cell Folie" r:id="rId17" imgW="344" imgH="34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16"/>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grpSp>
        <p:nvGrpSpPr>
          <p:cNvPr id="120" name="Gruppieren 119"/>
          <p:cNvGrpSpPr/>
          <p:nvPr/>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
        <p:nvSpPr>
          <p:cNvPr id="41" name="object 4">
            <a:extLst>
              <a:ext uri="{FF2B5EF4-FFF2-40B4-BE49-F238E27FC236}">
                <a16:creationId xmlns:a16="http://schemas.microsoft.com/office/drawing/2014/main" id="{F1407FCD-A98D-8D4C-BAEA-A83B72042659}"/>
              </a:ext>
            </a:extLst>
          </p:cNvPr>
          <p:cNvSpPr/>
          <p:nvPr/>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498326898"/>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50" r:id="rId4"/>
    <p:sldLayoutId id="2147483936" r:id="rId5"/>
    <p:sldLayoutId id="2147483956" r:id="rId6"/>
    <p:sldLayoutId id="2147483937" r:id="rId7"/>
    <p:sldLayoutId id="2147483952" r:id="rId8"/>
    <p:sldLayoutId id="2147483968" r:id="rId9"/>
    <p:sldLayoutId id="2147483989" r:id="rId10"/>
    <p:sldLayoutId id="2147483992" r:id="rId11"/>
    <p:sldLayoutId id="2147483993" r:id="rId12"/>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3"/>
            </p:custDataLst>
            <p:extLst>
              <p:ext uri="{D42A27DB-BD31-4B8C-83A1-F6EECF244321}">
                <p14:modId xmlns:p14="http://schemas.microsoft.com/office/powerpoint/2010/main" val="309146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877" name="think-cell Folie" r:id="rId15" imgW="344" imgH="345" progId="TCLayout.ActiveDocument.1">
                  <p:embed/>
                </p:oleObj>
              </mc:Choice>
              <mc:Fallback>
                <p:oleObj name="think-cell Folie" r:id="rId15" imgW="344" imgH="345"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14"/>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2534330190"/>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8" r:id="rId4"/>
    <p:sldLayoutId id="2147483941" r:id="rId5"/>
    <p:sldLayoutId id="2147483955" r:id="rId6"/>
    <p:sldLayoutId id="2147483942" r:id="rId7"/>
    <p:sldLayoutId id="2147483951" r:id="rId8"/>
    <p:sldLayoutId id="2147483990" r:id="rId9"/>
    <p:sldLayoutId id="2147483991" r:id="rId10"/>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0"/>
            </p:custDataLst>
            <p:extLst>
              <p:ext uri="{D42A27DB-BD31-4B8C-83A1-F6EECF244321}">
                <p14:modId xmlns:p14="http://schemas.microsoft.com/office/powerpoint/2010/main" val="3913146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884" name="think-cell Folie" r:id="rId12" imgW="344" imgH="345" progId="TCLayout.ActiveDocument.1">
                  <p:embed/>
                </p:oleObj>
              </mc:Choice>
              <mc:Fallback>
                <p:oleObj name="think-cell Folie" r:id="rId12" imgW="344" imgH="345" progId="TCLayout.ActiveDocument.1">
                  <p:embed/>
                  <p:pic>
                    <p:nvPicPr>
                      <p:cNvPr id="0" name=""/>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11"/>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1226072421"/>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9" r:id="rId4"/>
    <p:sldLayoutId id="2147483946" r:id="rId5"/>
    <p:sldLayoutId id="2147483954" r:id="rId6"/>
    <p:sldLayoutId id="2147483947" r:id="rId7"/>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7"/>
            </p:custDataLst>
            <p:extLst>
              <p:ext uri="{D42A27DB-BD31-4B8C-83A1-F6EECF244321}">
                <p14:modId xmlns:p14="http://schemas.microsoft.com/office/powerpoint/2010/main" val="2225077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101" name="think-cell Folie" r:id="rId9" imgW="344" imgH="345" progId="TCLayout.ActiveDocument.1">
                  <p:embed/>
                </p:oleObj>
              </mc:Choice>
              <mc:Fallback>
                <p:oleObj name="think-cell Folie" r:id="rId9" imgW="344" imgH="345"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8"/>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feld 3"/>
          <p:cNvSpPr txBox="1"/>
          <p:nvPr/>
        </p:nvSpPr>
        <p:spPr>
          <a:xfrm rot="16200000">
            <a:off x="8627636" y="3293636"/>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2" y="960180"/>
            <a:ext cx="696840"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sp>
        <p:nvSpPr>
          <p:cNvPr id="36" name="Textfeld 35"/>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platzhalter 1"/>
          <p:cNvSpPr>
            <a:spLocks noGrp="1"/>
          </p:cNvSpPr>
          <p:nvPr>
            <p:ph type="title"/>
          </p:nvPr>
        </p:nvSpPr>
        <p:spPr>
          <a:xfrm>
            <a:off x="263352" y="260350"/>
            <a:ext cx="11448000" cy="395288"/>
          </a:xfrm>
          <a:prstGeom prst="rect">
            <a:avLst/>
          </a:prstGeom>
        </p:spPr>
        <p:txBody>
          <a:bodyPr vert="horz" lIns="0" tIns="0" rIns="0" bIns="0" rtlCol="0" anchor="ctr">
            <a:noAutofit/>
          </a:bodyPr>
          <a:lstStyle/>
          <a:p>
            <a:pPr lvl="0"/>
            <a:r>
              <a:rPr lang="de-DE" dirty="0"/>
              <a:t>Titelmasterformat durch Klicken bearbeiten</a:t>
            </a:r>
          </a:p>
        </p:txBody>
      </p:sp>
      <p:sp>
        <p:nvSpPr>
          <p:cNvPr id="37"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grpSp>
        <p:nvGrpSpPr>
          <p:cNvPr id="61" name="Gruppieren 60"/>
          <p:cNvGrpSpPr/>
          <p:nvPr/>
        </p:nvGrpSpPr>
        <p:grpSpPr>
          <a:xfrm>
            <a:off x="-276708" y="-835143"/>
            <a:ext cx="12205181" cy="7972555"/>
            <a:chOff x="-276708" y="-835143"/>
            <a:chExt cx="12205181" cy="7972555"/>
          </a:xfrm>
        </p:grpSpPr>
        <p:cxnSp>
          <p:nvCxnSpPr>
            <p:cNvPr id="62" name="Gerade Verbindung 6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mit Pfeil 6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Gerade Verbindung mit Pfeil 6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Gerade Verbindung mit Pfeil 6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9" name="Gerade Verbindung mit Pfeil 6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Gerade Verbindung mit Pfeil 6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Gerade Verbindung mit Pfeil 7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84" name="Textfeld 8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9431596"/>
      </p:ext>
    </p:extLst>
  </p:cSld>
  <p:clrMap bg1="lt1" tx1="dk1" bg2="lt2" tx2="dk2" accent1="accent1" accent2="accent2" accent3="accent3" accent4="accent4" accent5="accent5" accent6="accent6" hlink="hlink" folHlink="folHlink"/>
  <p:sldLayoutIdLst>
    <p:sldLayoutId id="2147483727" r:id="rId1"/>
    <p:sldLayoutId id="2147483740" r:id="rId2"/>
    <p:sldLayoutId id="2147483765" r:id="rId3"/>
    <p:sldLayoutId id="2147483730" r:id="rId4"/>
  </p:sldLayoutIdLst>
  <p:hf sldNum="0" hdr="0" ftr="0"/>
  <p:txStyles>
    <p:titleStyle>
      <a:lvl1pPr algn="l" defTabSz="914400" rtl="0" eaLnBrk="1" latinLnBrk="0" hangingPunct="1">
        <a:lnSpc>
          <a:spcPct val="100000"/>
        </a:lnSpc>
        <a:spcBef>
          <a:spcPct val="0"/>
        </a:spcBef>
        <a:buNone/>
        <a:defRPr lang="de-DE" sz="2800" kern="1200" cap="all" spc="-70" baseline="0" dirty="0" smtClean="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 typeface="Arial"/>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1862752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7021" name="think-cell Folie" r:id="rId10" imgW="344" imgH="345" progId="TCLayout.ActiveDocument.1">
                  <p:embed/>
                </p:oleObj>
              </mc:Choice>
              <mc:Fallback>
                <p:oleObj name="think-cell Folie" r:id="rId10" imgW="344" imgH="345"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9"/>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4030343054"/>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62" r:id="rId3"/>
    <p:sldLayoutId id="2147483953" r:id="rId4"/>
    <p:sldLayoutId id="2147483900" r:id="rId5"/>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7"/>
            </p:custDataLst>
            <p:extLst>
              <p:ext uri="{D42A27DB-BD31-4B8C-83A1-F6EECF244321}">
                <p14:modId xmlns:p14="http://schemas.microsoft.com/office/powerpoint/2010/main" val="17966983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3165" name="think-cell Folie" r:id="rId9" imgW="344" imgH="345" progId="TCLayout.ActiveDocument.1">
                  <p:embed/>
                </p:oleObj>
              </mc:Choice>
              <mc:Fallback>
                <p:oleObj name="think-cell Folie" r:id="rId9" imgW="344" imgH="345"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8"/>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139150295"/>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68" r:id="rId3"/>
    <p:sldLayoutId id="2147483957" r:id="rId4"/>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2383778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09" name="think-cell Folie" r:id="rId10" imgW="344" imgH="345" progId="TCLayout.ActiveDocument.1">
                  <p:embed/>
                </p:oleObj>
              </mc:Choice>
              <mc:Fallback>
                <p:oleObj name="think-cell Folie" r:id="rId10" imgW="344" imgH="345"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9"/>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997539305"/>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74" r:id="rId3"/>
    <p:sldLayoutId id="2147483958" r:id="rId4"/>
    <p:sldLayoutId id="2147483902" r:id="rId5"/>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3546672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27" name="think-cell Folie" r:id="rId10" imgW="344" imgH="345" progId="TCLayout.ActiveDocument.1">
                  <p:embed/>
                </p:oleObj>
              </mc:Choice>
              <mc:Fallback>
                <p:oleObj name="think-cell Folie" r:id="rId10" imgW="344" imgH="345"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9"/>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2504631358"/>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959" r:id="rId3"/>
    <p:sldLayoutId id="2147483898" r:id="rId4"/>
    <p:sldLayoutId id="2147483905" r:id="rId5"/>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92.xml"/><Relationship Id="rId7" Type="http://schemas.openxmlformats.org/officeDocument/2006/relationships/image" Target="../media/image1.emf"/><Relationship Id="rId2" Type="http://schemas.openxmlformats.org/officeDocument/2006/relationships/tags" Target="../tags/tag191.xml"/><Relationship Id="rId1" Type="http://schemas.openxmlformats.org/officeDocument/2006/relationships/vmlDrawing" Target="../drawings/vmlDrawing130.vml"/><Relationship Id="rId6" Type="http://schemas.openxmlformats.org/officeDocument/2006/relationships/oleObject" Target="../embeddings/oleObject127.bin"/><Relationship Id="rId5" Type="http://schemas.openxmlformats.org/officeDocument/2006/relationships/notesSlide" Target="../notesSlides/notesSlide1.xml"/><Relationship Id="rId4" Type="http://schemas.openxmlformats.org/officeDocument/2006/relationships/slideLayout" Target="../slideLayouts/slideLayout3.xml"/><Relationship Id="rId9" Type="http://schemas.openxmlformats.org/officeDocument/2006/relationships/image" Target="../media/image4.JPG"/></Relationships>
</file>

<file path=ppt/slides/_rels/slide2.xml.rels><?xml version="1.0" encoding="UTF-8" standalone="yes"?>
<Relationships xmlns="http://schemas.openxmlformats.org/package/2006/relationships"><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tags" Target="../tags/tag218.xml"/><Relationship Id="rId21" Type="http://schemas.openxmlformats.org/officeDocument/2006/relationships/tags" Target="../tags/tag213.xml"/><Relationship Id="rId34" Type="http://schemas.openxmlformats.org/officeDocument/2006/relationships/image" Target="../media/image7.png"/><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tags" Target="../tags/tag217.xml"/><Relationship Id="rId33" Type="http://schemas.openxmlformats.org/officeDocument/2006/relationships/image" Target="../media/image6.png"/><Relationship Id="rId2" Type="http://schemas.openxmlformats.org/officeDocument/2006/relationships/tags" Target="../tags/tag194.xml"/><Relationship Id="rId16" Type="http://schemas.openxmlformats.org/officeDocument/2006/relationships/tags" Target="../tags/tag208.xml"/><Relationship Id="rId20" Type="http://schemas.openxmlformats.org/officeDocument/2006/relationships/tags" Target="../tags/tag212.xml"/><Relationship Id="rId29" Type="http://schemas.openxmlformats.org/officeDocument/2006/relationships/tags" Target="../tags/tag221.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tags" Target="../tags/tag203.xml"/><Relationship Id="rId24" Type="http://schemas.openxmlformats.org/officeDocument/2006/relationships/tags" Target="../tags/tag216.xml"/><Relationship Id="rId32" Type="http://schemas.openxmlformats.org/officeDocument/2006/relationships/image" Target="../media/image5.png"/><Relationship Id="rId37" Type="http://schemas.openxmlformats.org/officeDocument/2006/relationships/image" Target="../media/image9.jpg"/><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tags" Target="../tags/tag215.xml"/><Relationship Id="rId28" Type="http://schemas.openxmlformats.org/officeDocument/2006/relationships/tags" Target="../tags/tag220.xml"/><Relationship Id="rId36" Type="http://schemas.microsoft.com/office/2007/relationships/hdphoto" Target="../media/hdphoto1.wdp"/><Relationship Id="rId10" Type="http://schemas.openxmlformats.org/officeDocument/2006/relationships/tags" Target="../tags/tag202.xml"/><Relationship Id="rId19" Type="http://schemas.openxmlformats.org/officeDocument/2006/relationships/tags" Target="../tags/tag211.xml"/><Relationship Id="rId31" Type="http://schemas.openxmlformats.org/officeDocument/2006/relationships/notesSlide" Target="../notesSlides/notesSlide2.xml"/><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tags" Target="../tags/tag219.xml"/><Relationship Id="rId30" Type="http://schemas.openxmlformats.org/officeDocument/2006/relationships/slideLayout" Target="../slideLayouts/slideLayout9.xml"/><Relationship Id="rId35" Type="http://schemas.openxmlformats.org/officeDocument/2006/relationships/image" Target="../media/image8.png"/><Relationship Id="rId8" Type="http://schemas.openxmlformats.org/officeDocument/2006/relationships/tags" Target="../tags/tag200.xml"/><Relationship Id="rId3" Type="http://schemas.openxmlformats.org/officeDocument/2006/relationships/tags" Target="../tags/tag195.xml"/></Relationships>
</file>

<file path=ppt/slides/_rels/slide3.xml.rels><?xml version="1.0" encoding="UTF-8" standalone="yes"?>
<Relationships xmlns="http://schemas.openxmlformats.org/package/2006/relationships"><Relationship Id="rId8" Type="http://schemas.openxmlformats.org/officeDocument/2006/relationships/hyperlink" Target="https://www.doingbusiness.org/en/data/exploreeconomies/india" TargetMode="External"/><Relationship Id="rId3" Type="http://schemas.openxmlformats.org/officeDocument/2006/relationships/slideLayout" Target="../slideLayouts/slideLayout96.xml"/><Relationship Id="rId7" Type="http://schemas.openxmlformats.org/officeDocument/2006/relationships/image" Target="../media/image10.PNG"/><Relationship Id="rId2" Type="http://schemas.openxmlformats.org/officeDocument/2006/relationships/tags" Target="../tags/tag222.xml"/><Relationship Id="rId1" Type="http://schemas.openxmlformats.org/officeDocument/2006/relationships/vmlDrawing" Target="../drawings/vmlDrawing131.vml"/><Relationship Id="rId6" Type="http://schemas.openxmlformats.org/officeDocument/2006/relationships/image" Target="../media/image1.emf"/><Relationship Id="rId5" Type="http://schemas.openxmlformats.org/officeDocument/2006/relationships/oleObject" Target="../embeddings/oleObject128.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6.xml"/><Relationship Id="rId7" Type="http://schemas.openxmlformats.org/officeDocument/2006/relationships/image" Target="../media/image11.png"/><Relationship Id="rId2" Type="http://schemas.openxmlformats.org/officeDocument/2006/relationships/tags" Target="../tags/tag223.xml"/><Relationship Id="rId1" Type="http://schemas.openxmlformats.org/officeDocument/2006/relationships/vmlDrawing" Target="../drawings/vmlDrawing132.vml"/><Relationship Id="rId6" Type="http://schemas.openxmlformats.org/officeDocument/2006/relationships/image" Target="../media/image1.emf"/><Relationship Id="rId5" Type="http://schemas.openxmlformats.org/officeDocument/2006/relationships/oleObject" Target="../embeddings/oleObject129.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96.xml"/><Relationship Id="rId7" Type="http://schemas.openxmlformats.org/officeDocument/2006/relationships/image" Target="../media/image12.png"/><Relationship Id="rId2" Type="http://schemas.openxmlformats.org/officeDocument/2006/relationships/tags" Target="../tags/tag224.xml"/><Relationship Id="rId1" Type="http://schemas.openxmlformats.org/officeDocument/2006/relationships/vmlDrawing" Target="../drawings/vmlDrawing133.vml"/><Relationship Id="rId6" Type="http://schemas.openxmlformats.org/officeDocument/2006/relationships/image" Target="../media/image1.emf"/><Relationship Id="rId5" Type="http://schemas.openxmlformats.org/officeDocument/2006/relationships/oleObject" Target="../embeddings/oleObject128.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117.xml"/></Relationships>
</file>

<file path=ppt/slides/_rels/slide7.xml.rels><?xml version="1.0" encoding="UTF-8" standalone="yes"?>
<Relationships xmlns="http://schemas.openxmlformats.org/package/2006/relationships"><Relationship Id="rId8" Type="http://schemas.openxmlformats.org/officeDocument/2006/relationships/hyperlink" Target="mailto:seema.bhardwaj@roedl.com" TargetMode="External"/><Relationship Id="rId13" Type="http://schemas.openxmlformats.org/officeDocument/2006/relationships/hyperlink" Target="mailto:neha.sharma@roedl.com" TargetMode="External"/><Relationship Id="rId3" Type="http://schemas.openxmlformats.org/officeDocument/2006/relationships/tags" Target="../tags/tag226.xml"/><Relationship Id="rId7" Type="http://schemas.openxmlformats.org/officeDocument/2006/relationships/image" Target="../media/image1.emf"/><Relationship Id="rId12" Type="http://schemas.openxmlformats.org/officeDocument/2006/relationships/hyperlink" Target="mailto:rahul.oza@roedl.com" TargetMode="External"/><Relationship Id="rId2" Type="http://schemas.openxmlformats.org/officeDocument/2006/relationships/tags" Target="../tags/tag225.xml"/><Relationship Id="rId1" Type="http://schemas.openxmlformats.org/officeDocument/2006/relationships/vmlDrawing" Target="../drawings/vmlDrawing134.vml"/><Relationship Id="rId6" Type="http://schemas.openxmlformats.org/officeDocument/2006/relationships/oleObject" Target="../embeddings/oleObject130.bin"/><Relationship Id="rId11" Type="http://schemas.openxmlformats.org/officeDocument/2006/relationships/hyperlink" Target="mailto:martin.woerlein@roedl.com" TargetMode="External"/><Relationship Id="rId5" Type="http://schemas.openxmlformats.org/officeDocument/2006/relationships/notesSlide" Target="../notesSlides/notesSlide7.xml"/><Relationship Id="rId15" Type="http://schemas.openxmlformats.org/officeDocument/2006/relationships/image" Target="../media/image16.jpeg"/><Relationship Id="rId10" Type="http://schemas.openxmlformats.org/officeDocument/2006/relationships/hyperlink" Target="http://www.roedl.de/indien" TargetMode="External"/><Relationship Id="rId4" Type="http://schemas.openxmlformats.org/officeDocument/2006/relationships/slideLayout" Target="../slideLayouts/slideLayout106.xml"/><Relationship Id="rId9" Type="http://schemas.openxmlformats.org/officeDocument/2006/relationships/image" Target="../media/image15.jpg"/><Relationship Id="rId14" Type="http://schemas.openxmlformats.org/officeDocument/2006/relationships/hyperlink" Target="mailto:pune@roedl.com" TargetMode="Externa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05.xml"/><Relationship Id="rId2" Type="http://schemas.openxmlformats.org/officeDocument/2006/relationships/tags" Target="../tags/tag227.xml"/><Relationship Id="rId1" Type="http://schemas.openxmlformats.org/officeDocument/2006/relationships/vmlDrawing" Target="../drawings/vmlDrawing135.v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ext uri="{D42A27DB-BD31-4B8C-83A1-F6EECF244321}">
                <p14:modId xmlns:p14="http://schemas.microsoft.com/office/powerpoint/2010/main" val="43331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0809" name="think-cell Folie" r:id="rId6" imgW="344" imgH="345" progId="TCLayout.ActiveDocument.1">
                  <p:embed/>
                </p:oleObj>
              </mc:Choice>
              <mc:Fallback>
                <p:oleObj name="think-cell Folie" r:id="rId6" imgW="344" imgH="34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Textplatzhalter 14"/>
          <p:cNvSpPr>
            <a:spLocks noGrp="1"/>
          </p:cNvSpPr>
          <p:nvPr>
            <p:ph type="body" sz="quarter" idx="13"/>
          </p:nvPr>
        </p:nvSpPr>
        <p:spPr>
          <a:xfrm>
            <a:off x="1966051" y="6207115"/>
            <a:ext cx="3744000" cy="246221"/>
          </a:xfrm>
        </p:spPr>
        <p:txBody>
          <a:bodyPr/>
          <a:lstStyle/>
          <a:p>
            <a:r>
              <a:rPr lang="en-GB" dirty="0"/>
              <a:t>Zurich,</a:t>
            </a:r>
          </a:p>
        </p:txBody>
      </p:sp>
      <p:sp>
        <p:nvSpPr>
          <p:cNvPr id="5" name="Textplatzhalter 4"/>
          <p:cNvSpPr>
            <a:spLocks noGrp="1"/>
          </p:cNvSpPr>
          <p:nvPr>
            <p:ph type="body" sz="quarter" idx="14"/>
          </p:nvPr>
        </p:nvSpPr>
        <p:spPr>
          <a:xfrm>
            <a:off x="-16405" y="944724"/>
            <a:ext cx="6037200" cy="1538883"/>
          </a:xfrm>
        </p:spPr>
        <p:txBody>
          <a:bodyPr/>
          <a:lstStyle/>
          <a:p>
            <a:r>
              <a:rPr lang="en-GB" dirty="0"/>
              <a:t>Globally</a:t>
            </a:r>
            <a:br>
              <a:rPr lang="en-GB" dirty="0"/>
            </a:br>
            <a:r>
              <a:rPr lang="en-GB" dirty="0"/>
              <a:t>active</a:t>
            </a:r>
          </a:p>
        </p:txBody>
      </p:sp>
      <p:sp>
        <p:nvSpPr>
          <p:cNvPr id="16" name="Textplatzhalter 15"/>
          <p:cNvSpPr>
            <a:spLocks noGrp="1"/>
          </p:cNvSpPr>
          <p:nvPr>
            <p:ph type="body" sz="quarter" idx="16"/>
          </p:nvPr>
        </p:nvSpPr>
        <p:spPr/>
        <p:txBody>
          <a:bodyPr/>
          <a:lstStyle/>
          <a:p>
            <a:r>
              <a:rPr lang="en-GB" dirty="0" err="1"/>
              <a:t>Seema</a:t>
            </a:r>
            <a:r>
              <a:rPr lang="en-GB" dirty="0"/>
              <a:t> Bhardwaj</a:t>
            </a:r>
          </a:p>
        </p:txBody>
      </p:sp>
      <p:sp>
        <p:nvSpPr>
          <p:cNvPr id="17" name="Datumsplatzhalter 16"/>
          <p:cNvSpPr>
            <a:spLocks noGrp="1"/>
          </p:cNvSpPr>
          <p:nvPr>
            <p:ph type="dt" sz="half" idx="2"/>
          </p:nvPr>
        </p:nvSpPr>
        <p:spPr>
          <a:xfrm>
            <a:off x="2463993" y="6206967"/>
            <a:ext cx="3088890" cy="246221"/>
          </a:xfrm>
        </p:spPr>
        <p:txBody>
          <a:bodyPr/>
          <a:lstStyle/>
          <a:p>
            <a:r>
              <a:rPr lang="en-GB" dirty="0"/>
              <a:t>   5</a:t>
            </a:r>
            <a:r>
              <a:rPr lang="en-GB" baseline="30000" dirty="0"/>
              <a:t>th</a:t>
            </a:r>
            <a:r>
              <a:rPr lang="en-GB" dirty="0"/>
              <a:t> February </a:t>
            </a:r>
            <a:r>
              <a:rPr lang="en-GB" dirty="0">
                <a:latin typeface="Arial" panose="020B0604020202020204" pitchFamily="34" charset="0"/>
                <a:cs typeface="Arial" panose="020B0604020202020204" pitchFamily="34" charset="0"/>
                <a:sym typeface="Arial" panose="020B0604020202020204" pitchFamily="34" charset="0"/>
              </a:rPr>
              <a:t>2020 </a:t>
            </a:r>
          </a:p>
        </p:txBody>
      </p:sp>
      <p:sp>
        <p:nvSpPr>
          <p:cNvPr id="10" name="Titel 2"/>
          <p:cNvSpPr>
            <a:spLocks noGrp="1"/>
          </p:cNvSpPr>
          <p:nvPr>
            <p:ph type="body" sz="quarter" idx="12"/>
            <p:custDataLst>
              <p:tags r:id="rId3"/>
            </p:custDataLst>
          </p:nvPr>
        </p:nvSpPr>
        <p:spPr>
          <a:xfrm>
            <a:off x="1850114" y="4118085"/>
            <a:ext cx="3911291" cy="1656000"/>
          </a:xfrm>
        </p:spPr>
        <p:txBody>
          <a:bodyPr>
            <a:normAutofit fontScale="25000" lnSpcReduction="20000"/>
          </a:bodyPr>
          <a:lstStyle/>
          <a:p>
            <a:pPr>
              <a:spcBef>
                <a:spcPts val="300"/>
              </a:spcBef>
              <a:spcAft>
                <a:spcPts val="450"/>
              </a:spcAft>
            </a:pPr>
            <a:endParaRPr lang="de-DE" altLang="en-US" dirty="0"/>
          </a:p>
          <a:p>
            <a:pPr>
              <a:spcBef>
                <a:spcPts val="300"/>
              </a:spcBef>
              <a:spcAft>
                <a:spcPts val="450"/>
              </a:spcAft>
            </a:pPr>
            <a:endParaRPr lang="de-DE" altLang="en-US" dirty="0"/>
          </a:p>
          <a:p>
            <a:pPr>
              <a:spcBef>
                <a:spcPts val="300"/>
              </a:spcBef>
              <a:spcAft>
                <a:spcPts val="450"/>
              </a:spcAft>
            </a:pPr>
            <a:br>
              <a:rPr lang="de-DE" altLang="en-US" dirty="0"/>
            </a:br>
            <a:r>
              <a:rPr lang="de-DE" altLang="en-US" sz="5500" b="1" dirty="0"/>
              <a:t>EASE OF DOING BUSINESS IN </a:t>
            </a:r>
            <a:r>
              <a:rPr lang="de-DE" altLang="en-US" sz="5500" b="1" dirty="0" err="1"/>
              <a:t>India</a:t>
            </a:r>
            <a:r>
              <a:rPr lang="de-DE" altLang="en-US" sz="5500" b="1" dirty="0"/>
              <a:t> </a:t>
            </a:r>
            <a:br>
              <a:rPr lang="de-DE" altLang="en-US" sz="4200" b="1" dirty="0"/>
            </a:br>
            <a:endParaRPr lang="de-DE" altLang="en-US" sz="4200" b="1" dirty="0"/>
          </a:p>
          <a:p>
            <a:pPr>
              <a:spcBef>
                <a:spcPts val="300"/>
              </a:spcBef>
              <a:spcAft>
                <a:spcPts val="450"/>
              </a:spcAft>
            </a:pPr>
            <a:r>
              <a:rPr lang="de-DE" altLang="en-US" sz="4500" b="1" dirty="0"/>
              <a:t>PRACTICE REPORT  FROM Legal &amp; </a:t>
            </a:r>
            <a:r>
              <a:rPr lang="de-DE" altLang="en-US" sz="4500" b="1" dirty="0" err="1"/>
              <a:t>tax</a:t>
            </a:r>
            <a:r>
              <a:rPr lang="de-DE" altLang="en-US" sz="4500" b="1" dirty="0"/>
              <a:t>  </a:t>
            </a:r>
            <a:r>
              <a:rPr lang="de-DE" altLang="en-US" sz="4500" b="1" dirty="0" err="1"/>
              <a:t>perspective</a:t>
            </a:r>
            <a:r>
              <a:rPr lang="de-DE" altLang="en-US" sz="4500" b="1" dirty="0"/>
              <a:t>  </a:t>
            </a:r>
            <a:endParaRPr lang="de-DE" b="1" dirty="0"/>
          </a:p>
          <a:p>
            <a:pPr>
              <a:spcBef>
                <a:spcPts val="300"/>
              </a:spcBef>
              <a:spcAft>
                <a:spcPts val="450"/>
              </a:spcAft>
            </a:pPr>
            <a:endParaRPr lang="de-DE" b="1" dirty="0"/>
          </a:p>
          <a:p>
            <a:pPr>
              <a:spcBef>
                <a:spcPts val="300"/>
              </a:spcBef>
              <a:spcAft>
                <a:spcPts val="450"/>
              </a:spcAft>
            </a:pPr>
            <a:endParaRPr lang="en-GB" b="1" dirty="0"/>
          </a:p>
        </p:txBody>
      </p:sp>
      <p:pic>
        <p:nvPicPr>
          <p:cNvPr id="4" name="Grafik 3"/>
          <p:cNvPicPr>
            <a:picLocks noChangeAspect="1"/>
          </p:cNvPicPr>
          <p:nvPr/>
        </p:nvPicPr>
        <p:blipFill>
          <a:blip r:embed="rId8"/>
          <a:stretch>
            <a:fillRect/>
          </a:stretch>
        </p:blipFill>
        <p:spPr>
          <a:xfrm>
            <a:off x="1812774" y="2582673"/>
            <a:ext cx="4104000" cy="1464109"/>
          </a:xfrm>
          <a:prstGeom prst="rect">
            <a:avLst/>
          </a:prstGeom>
        </p:spPr>
      </p:pic>
      <p:pic>
        <p:nvPicPr>
          <p:cNvPr id="11" name="Bildplatzhalter 3"/>
          <p:cNvPicPr>
            <a:picLocks noGrp="1" noChangeAspect="1"/>
          </p:cNvPicPr>
          <p:nvPr>
            <p:ph type="pic" sz="quarter" idx="17"/>
          </p:nvPr>
        </p:nvPicPr>
        <p:blipFill rotWithShape="1">
          <a:blip r:embed="rId9">
            <a:extLst>
              <a:ext uri="{28A0092B-C50C-407E-A947-70E740481C1C}">
                <a14:useLocalDpi xmlns:a14="http://schemas.microsoft.com/office/drawing/2010/main" val="0"/>
              </a:ext>
            </a:extLst>
          </a:blip>
          <a:srcRect l="20026" r="20026"/>
          <a:stretch/>
        </p:blipFill>
        <p:spPr>
          <a:prstGeom prst="rect">
            <a:avLst/>
          </a:prstGeom>
        </p:spPr>
      </p:pic>
    </p:spTree>
    <p:extLst>
      <p:ext uri="{BB962C8B-B14F-4D97-AF65-F5344CB8AC3E}">
        <p14:creationId xmlns:p14="http://schemas.microsoft.com/office/powerpoint/2010/main" val="19856781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Titel 1"/>
          <p:cNvSpPr>
            <a:spLocks noGrp="1"/>
          </p:cNvSpPr>
          <p:nvPr>
            <p:ph type="title"/>
          </p:nvPr>
        </p:nvSpPr>
        <p:spPr/>
        <p:txBody>
          <a:bodyPr/>
          <a:lstStyle/>
          <a:p>
            <a:pPr eaLnBrk="1" hangingPunct="1"/>
            <a:r>
              <a:rPr lang="de-DE" dirty="0"/>
              <a:t>Rödl &amp; Partner in Germany </a:t>
            </a:r>
            <a:r>
              <a:rPr lang="de-DE" dirty="0" err="1"/>
              <a:t>and</a:t>
            </a:r>
            <a:r>
              <a:rPr lang="de-DE" dirty="0"/>
              <a:t> </a:t>
            </a:r>
            <a:r>
              <a:rPr lang="de-DE" dirty="0" err="1"/>
              <a:t>Switzerland</a:t>
            </a:r>
            <a:r>
              <a:rPr lang="de-DE" dirty="0"/>
              <a:t>  </a:t>
            </a:r>
          </a:p>
        </p:txBody>
      </p:sp>
      <p:sp>
        <p:nvSpPr>
          <p:cNvPr id="25606" name="Textfeld 46"/>
          <p:cNvSpPr txBox="1">
            <a:spLocks noChangeArrowheads="1"/>
          </p:cNvSpPr>
          <p:nvPr>
            <p:custDataLst>
              <p:tags r:id="rId1"/>
            </p:custDataLst>
          </p:nvPr>
        </p:nvSpPr>
        <p:spPr bwMode="gray">
          <a:xfrm>
            <a:off x="1774826" y="1785940"/>
            <a:ext cx="2136115" cy="4071953"/>
          </a:xfrm>
          <a:prstGeom prst="rect">
            <a:avLst/>
          </a:prstGeom>
          <a:noFill/>
          <a:ln w="9525">
            <a:noFill/>
            <a:miter lim="800000"/>
            <a:headEnd/>
            <a:tailEnd/>
          </a:ln>
        </p:spPr>
        <p:txBody>
          <a:bodyPr lIns="90000" tIns="54000" rIns="90000" bIns="54000"/>
          <a:lstStyle/>
          <a:p>
            <a:pPr marL="90000" indent="-93600">
              <a:spcBef>
                <a:spcPts val="100"/>
              </a:spcBef>
              <a:buClr>
                <a:schemeClr val="accent1"/>
              </a:buClr>
              <a:buFont typeface="Wingdings" pitchFamily="2" charset="2"/>
              <a:buChar char="§"/>
              <a:defRPr/>
            </a:pPr>
            <a:r>
              <a:rPr lang="de-DE" sz="1000" b="1" dirty="0" err="1"/>
              <a:t>Nuremberg</a:t>
            </a:r>
            <a:r>
              <a:rPr lang="de-DE" sz="1000" b="1" dirty="0"/>
              <a:t>*</a:t>
            </a:r>
            <a:endParaRPr lang="de-DE" sz="1000" b="1" dirty="0">
              <a:sym typeface="Wingdings" pitchFamily="2" charset="2"/>
            </a:endParaRPr>
          </a:p>
          <a:p>
            <a:pPr marL="90000" indent="-93600">
              <a:spcBef>
                <a:spcPts val="100"/>
              </a:spcBef>
              <a:buClr>
                <a:schemeClr val="accent1"/>
              </a:buClr>
              <a:buFont typeface="Wingdings" pitchFamily="2" charset="2"/>
              <a:buChar char="§"/>
              <a:defRPr/>
            </a:pPr>
            <a:r>
              <a:rPr lang="de-DE" sz="1000" dirty="0"/>
              <a:t>Ansbach</a:t>
            </a:r>
            <a:endParaRPr lang="de-DE" sz="1000" dirty="0">
              <a:sym typeface="Wingdings" pitchFamily="2" charset="2"/>
            </a:endParaRPr>
          </a:p>
          <a:p>
            <a:pPr marL="90000" indent="-93600">
              <a:spcBef>
                <a:spcPts val="100"/>
              </a:spcBef>
              <a:buClr>
                <a:schemeClr val="accent1"/>
              </a:buClr>
              <a:buFont typeface="Wingdings" pitchFamily="2" charset="2"/>
              <a:buChar char="§"/>
              <a:defRPr/>
            </a:pPr>
            <a:r>
              <a:rPr lang="de-DE" sz="1000" dirty="0"/>
              <a:t>Bamberg</a:t>
            </a:r>
          </a:p>
          <a:p>
            <a:pPr marL="90000" indent="-93600">
              <a:spcBef>
                <a:spcPts val="100"/>
              </a:spcBef>
              <a:buClr>
                <a:schemeClr val="accent1"/>
              </a:buClr>
              <a:buFont typeface="Wingdings" pitchFamily="2" charset="2"/>
              <a:buChar char="§"/>
              <a:defRPr/>
            </a:pPr>
            <a:r>
              <a:rPr lang="de-DE" sz="1000" dirty="0"/>
              <a:t>Bayreuth</a:t>
            </a:r>
            <a:endParaRPr lang="de-DE" sz="1000" dirty="0">
              <a:sym typeface="Wingdings" pitchFamily="2" charset="2"/>
            </a:endParaRPr>
          </a:p>
          <a:p>
            <a:pPr marL="90000" indent="-93600">
              <a:spcBef>
                <a:spcPts val="100"/>
              </a:spcBef>
              <a:buClr>
                <a:schemeClr val="accent1"/>
              </a:buClr>
              <a:buFont typeface="Wingdings" pitchFamily="2" charset="2"/>
              <a:buChar char="§"/>
              <a:defRPr/>
            </a:pPr>
            <a:r>
              <a:rPr lang="de-DE" sz="1000" b="1" dirty="0"/>
              <a:t>Berlin*</a:t>
            </a:r>
          </a:p>
          <a:p>
            <a:pPr marL="90000" indent="-93600">
              <a:spcBef>
                <a:spcPts val="100"/>
              </a:spcBef>
              <a:buClr>
                <a:schemeClr val="accent1"/>
              </a:buClr>
              <a:buFont typeface="Wingdings" pitchFamily="2" charset="2"/>
              <a:buChar char="§"/>
              <a:defRPr/>
            </a:pPr>
            <a:r>
              <a:rPr lang="de-DE" sz="1000" dirty="0">
                <a:sym typeface="Wingdings" pitchFamily="2" charset="2"/>
              </a:rPr>
              <a:t>Bielefeld</a:t>
            </a:r>
          </a:p>
          <a:p>
            <a:pPr marL="90000" indent="-93600">
              <a:spcBef>
                <a:spcPts val="100"/>
              </a:spcBef>
              <a:buClr>
                <a:schemeClr val="accent1"/>
              </a:buClr>
              <a:buFont typeface="Wingdings" pitchFamily="2" charset="2"/>
              <a:buChar char="§"/>
              <a:defRPr/>
            </a:pPr>
            <a:r>
              <a:rPr lang="de-DE" sz="1000" dirty="0"/>
              <a:t>Chemnitz</a:t>
            </a:r>
          </a:p>
          <a:p>
            <a:pPr marL="90000" indent="-93600">
              <a:spcBef>
                <a:spcPts val="100"/>
              </a:spcBef>
              <a:buClr>
                <a:schemeClr val="accent1"/>
              </a:buClr>
              <a:buFont typeface="Wingdings" pitchFamily="2" charset="2"/>
              <a:buChar char="§"/>
              <a:defRPr/>
            </a:pPr>
            <a:r>
              <a:rPr lang="de-DE" sz="1000" dirty="0"/>
              <a:t>Cologne</a:t>
            </a:r>
            <a:endParaRPr lang="de-DE" sz="1000" dirty="0">
              <a:sym typeface="Wingdings" pitchFamily="2" charset="2"/>
            </a:endParaRPr>
          </a:p>
          <a:p>
            <a:pPr marL="90000" indent="-93600">
              <a:spcBef>
                <a:spcPts val="100"/>
              </a:spcBef>
              <a:buClr>
                <a:schemeClr val="accent1"/>
              </a:buClr>
              <a:buFont typeface="Wingdings" pitchFamily="2" charset="2"/>
              <a:buChar char="§"/>
              <a:defRPr/>
            </a:pPr>
            <a:r>
              <a:rPr lang="de-DE" sz="1000" dirty="0"/>
              <a:t>Dresden</a:t>
            </a:r>
            <a:endParaRPr lang="de-DE" sz="1000" dirty="0">
              <a:sym typeface="Wingdings" pitchFamily="2" charset="2"/>
            </a:endParaRPr>
          </a:p>
          <a:p>
            <a:pPr marL="90000" indent="-93600">
              <a:spcBef>
                <a:spcPts val="100"/>
              </a:spcBef>
              <a:buClr>
                <a:schemeClr val="accent1"/>
              </a:buClr>
              <a:buFont typeface="Wingdings" pitchFamily="2" charset="2"/>
              <a:buChar char="§"/>
              <a:defRPr/>
            </a:pPr>
            <a:r>
              <a:rPr lang="de-DE" sz="1000" dirty="0"/>
              <a:t>Eschborn</a:t>
            </a:r>
          </a:p>
          <a:p>
            <a:pPr marL="90000" indent="-93600">
              <a:spcBef>
                <a:spcPts val="100"/>
              </a:spcBef>
              <a:buClr>
                <a:schemeClr val="accent1"/>
              </a:buClr>
              <a:buFont typeface="Wingdings" pitchFamily="2" charset="2"/>
              <a:buChar char="§"/>
              <a:defRPr/>
            </a:pPr>
            <a:r>
              <a:rPr lang="de-DE" sz="1000" dirty="0" err="1"/>
              <a:t>Fuerth</a:t>
            </a:r>
            <a:endParaRPr lang="de-DE" sz="1000" dirty="0"/>
          </a:p>
          <a:p>
            <a:pPr marL="90000" indent="-93600">
              <a:spcBef>
                <a:spcPts val="100"/>
              </a:spcBef>
              <a:buClr>
                <a:schemeClr val="accent1"/>
              </a:buClr>
              <a:buFont typeface="Wingdings" pitchFamily="2" charset="2"/>
              <a:buChar char="§"/>
              <a:defRPr/>
            </a:pPr>
            <a:r>
              <a:rPr lang="de-DE" sz="1000" dirty="0"/>
              <a:t>Hamburg</a:t>
            </a:r>
            <a:endParaRPr lang="de-DE" sz="1000" dirty="0">
              <a:sym typeface="Wingdings" pitchFamily="2" charset="2"/>
            </a:endParaRPr>
          </a:p>
          <a:p>
            <a:pPr marL="90000" indent="-93600">
              <a:spcBef>
                <a:spcPts val="100"/>
              </a:spcBef>
              <a:buClr>
                <a:schemeClr val="accent1"/>
              </a:buClr>
              <a:buFont typeface="Wingdings" pitchFamily="2" charset="2"/>
              <a:buChar char="§"/>
              <a:defRPr/>
            </a:pPr>
            <a:r>
              <a:rPr lang="de-DE" sz="1000" dirty="0"/>
              <a:t>Hannover</a:t>
            </a:r>
          </a:p>
          <a:p>
            <a:pPr marL="90000" indent="-93600">
              <a:spcBef>
                <a:spcPts val="100"/>
              </a:spcBef>
              <a:buClr>
                <a:schemeClr val="accent1"/>
              </a:buClr>
              <a:buFont typeface="Wingdings" pitchFamily="2" charset="2"/>
              <a:buChar char="§"/>
              <a:defRPr/>
            </a:pPr>
            <a:r>
              <a:rPr lang="de-DE" sz="1000" dirty="0"/>
              <a:t>Hof</a:t>
            </a:r>
          </a:p>
          <a:p>
            <a:pPr marL="90000" indent="-93600">
              <a:spcBef>
                <a:spcPts val="100"/>
              </a:spcBef>
              <a:buClr>
                <a:schemeClr val="accent1"/>
              </a:buClr>
              <a:buFont typeface="Wingdings" pitchFamily="2" charset="2"/>
              <a:buChar char="§"/>
              <a:defRPr/>
            </a:pPr>
            <a:r>
              <a:rPr lang="de-DE" sz="1000" dirty="0"/>
              <a:t>Jena </a:t>
            </a:r>
            <a:endParaRPr lang="de-DE" sz="1000" dirty="0">
              <a:sym typeface="Wingdings" pitchFamily="2" charset="2"/>
            </a:endParaRPr>
          </a:p>
          <a:p>
            <a:pPr marL="90000" indent="-93600">
              <a:spcBef>
                <a:spcPts val="100"/>
              </a:spcBef>
              <a:buClr>
                <a:schemeClr val="accent1"/>
              </a:buClr>
              <a:buFont typeface="Wingdings" pitchFamily="2" charset="2"/>
              <a:buChar char="§"/>
              <a:defRPr/>
            </a:pPr>
            <a:r>
              <a:rPr lang="de-DE" sz="1000" dirty="0"/>
              <a:t>Kulmbach</a:t>
            </a:r>
          </a:p>
          <a:p>
            <a:pPr marL="90000" indent="-93600">
              <a:spcBef>
                <a:spcPts val="100"/>
              </a:spcBef>
              <a:buClr>
                <a:schemeClr val="accent1"/>
              </a:buClr>
              <a:buFont typeface="Wingdings" pitchFamily="2" charset="2"/>
              <a:buChar char="§"/>
              <a:defRPr/>
            </a:pPr>
            <a:r>
              <a:rPr lang="de-DE" sz="1000" dirty="0">
                <a:sym typeface="Wingdings" pitchFamily="2" charset="2"/>
              </a:rPr>
              <a:t>Ludwigshafen</a:t>
            </a:r>
          </a:p>
          <a:p>
            <a:pPr marL="90000" indent="-93600">
              <a:spcBef>
                <a:spcPts val="100"/>
              </a:spcBef>
              <a:buClr>
                <a:schemeClr val="accent1"/>
              </a:buClr>
              <a:buFont typeface="Wingdings" pitchFamily="2" charset="2"/>
              <a:buChar char="§"/>
              <a:defRPr/>
            </a:pPr>
            <a:r>
              <a:rPr lang="de-DE" sz="1000" dirty="0">
                <a:sym typeface="Wingdings" pitchFamily="2" charset="2"/>
              </a:rPr>
              <a:t>Mettlach</a:t>
            </a:r>
          </a:p>
          <a:p>
            <a:pPr marL="90000" indent="-93600">
              <a:spcBef>
                <a:spcPts val="100"/>
              </a:spcBef>
              <a:buClr>
                <a:schemeClr val="accent1"/>
              </a:buClr>
              <a:buFont typeface="Wingdings" pitchFamily="2" charset="2"/>
              <a:buChar char="§"/>
              <a:defRPr/>
            </a:pPr>
            <a:r>
              <a:rPr lang="de-DE" sz="1000" dirty="0" err="1">
                <a:sym typeface="Wingdings" pitchFamily="2" charset="2"/>
              </a:rPr>
              <a:t>Munich</a:t>
            </a:r>
            <a:endParaRPr lang="de-DE" sz="1000" dirty="0">
              <a:sym typeface="Wingdings" pitchFamily="2" charset="2"/>
            </a:endParaRPr>
          </a:p>
          <a:p>
            <a:pPr marL="90000" indent="-93600">
              <a:spcBef>
                <a:spcPts val="100"/>
              </a:spcBef>
              <a:buClr>
                <a:schemeClr val="accent1"/>
              </a:buClr>
              <a:buFont typeface="Wingdings" pitchFamily="2" charset="2"/>
              <a:buChar char="§"/>
              <a:defRPr/>
            </a:pPr>
            <a:r>
              <a:rPr lang="de-DE" sz="1000" dirty="0">
                <a:sym typeface="Wingdings" pitchFamily="2" charset="2"/>
              </a:rPr>
              <a:t>Münster</a:t>
            </a:r>
          </a:p>
          <a:p>
            <a:pPr marL="90000" indent="-93600">
              <a:spcBef>
                <a:spcPts val="100"/>
              </a:spcBef>
              <a:buClr>
                <a:schemeClr val="accent1"/>
              </a:buClr>
              <a:buFont typeface="Wingdings" pitchFamily="2" charset="2"/>
              <a:buChar char="§"/>
              <a:defRPr/>
            </a:pPr>
            <a:r>
              <a:rPr lang="de-DE" sz="1000" dirty="0"/>
              <a:t>Plauen</a:t>
            </a:r>
          </a:p>
          <a:p>
            <a:pPr marL="90000" indent="-93600">
              <a:spcBef>
                <a:spcPts val="100"/>
              </a:spcBef>
              <a:buClr>
                <a:schemeClr val="accent1"/>
              </a:buClr>
              <a:buFont typeface="Wingdings" pitchFamily="2" charset="2"/>
              <a:buChar char="§"/>
              <a:defRPr/>
            </a:pPr>
            <a:r>
              <a:rPr lang="de-DE" sz="1000" dirty="0"/>
              <a:t>Regensburg</a:t>
            </a:r>
          </a:p>
          <a:p>
            <a:pPr marL="90000" indent="-93600">
              <a:spcBef>
                <a:spcPts val="100"/>
              </a:spcBef>
              <a:buClr>
                <a:schemeClr val="accent1"/>
              </a:buClr>
              <a:buFont typeface="Wingdings" pitchFamily="2" charset="2"/>
              <a:buChar char="§"/>
              <a:defRPr/>
            </a:pPr>
            <a:r>
              <a:rPr lang="de-DE" sz="1000" dirty="0">
                <a:sym typeface="Wingdings" pitchFamily="2" charset="2"/>
              </a:rPr>
              <a:t>Selb</a:t>
            </a:r>
          </a:p>
          <a:p>
            <a:pPr marL="90000" indent="-93600">
              <a:spcBef>
                <a:spcPts val="100"/>
              </a:spcBef>
              <a:buClr>
                <a:schemeClr val="accent1"/>
              </a:buClr>
              <a:buFont typeface="Wingdings" pitchFamily="2" charset="2"/>
              <a:buChar char="§"/>
              <a:defRPr/>
            </a:pPr>
            <a:r>
              <a:rPr lang="de-DE" sz="1000" dirty="0">
                <a:sym typeface="Wingdings" pitchFamily="2" charset="2"/>
              </a:rPr>
              <a:t>Stuttgart</a:t>
            </a:r>
          </a:p>
          <a:p>
            <a:pPr marL="90000" indent="-93600">
              <a:spcBef>
                <a:spcPts val="100"/>
              </a:spcBef>
              <a:buClr>
                <a:schemeClr val="accent1"/>
              </a:buClr>
              <a:buFont typeface="Wingdings" pitchFamily="2" charset="2"/>
              <a:buChar char="§"/>
              <a:defRPr/>
            </a:pPr>
            <a:r>
              <a:rPr lang="de-DE" sz="1000" dirty="0">
                <a:sym typeface="Wingdings" pitchFamily="2" charset="2"/>
              </a:rPr>
              <a:t>Ulm</a:t>
            </a:r>
          </a:p>
          <a:p>
            <a:pPr marL="90000" indent="-93600">
              <a:spcBef>
                <a:spcPts val="100"/>
              </a:spcBef>
              <a:buClr>
                <a:schemeClr val="accent1"/>
              </a:buClr>
              <a:buFont typeface="Wingdings" pitchFamily="2" charset="2"/>
              <a:buChar char="§"/>
              <a:defRPr/>
            </a:pPr>
            <a:endParaRPr lang="de-DE" sz="1000" dirty="0">
              <a:sym typeface="Wingdings" pitchFamily="2" charset="2"/>
            </a:endParaRPr>
          </a:p>
          <a:p>
            <a:pPr>
              <a:spcBef>
                <a:spcPts val="100"/>
              </a:spcBef>
              <a:buClr>
                <a:schemeClr val="accent1"/>
              </a:buClr>
              <a:defRPr/>
            </a:pPr>
            <a:r>
              <a:rPr lang="en-IN" sz="1000" b="1" dirty="0"/>
              <a:t>* specialized India-Desks</a:t>
            </a:r>
          </a:p>
          <a:p>
            <a:pPr marL="90000" indent="-93600">
              <a:spcBef>
                <a:spcPts val="100"/>
              </a:spcBef>
              <a:buClr>
                <a:schemeClr val="accent1"/>
              </a:buClr>
              <a:buFont typeface="Wingdings" pitchFamily="2" charset="2"/>
              <a:buChar char="§"/>
              <a:defRPr/>
            </a:pPr>
            <a:endParaRPr lang="de-DE" sz="1000" dirty="0">
              <a:sym typeface="Wingdings" pitchFamily="2" charset="2"/>
            </a:endParaRPr>
          </a:p>
        </p:txBody>
      </p:sp>
      <p:grpSp>
        <p:nvGrpSpPr>
          <p:cNvPr id="2" name="Gruppieren 1"/>
          <p:cNvGrpSpPr/>
          <p:nvPr>
            <p:custDataLst>
              <p:tags r:id="rId2"/>
            </p:custDataLst>
          </p:nvPr>
        </p:nvGrpSpPr>
        <p:grpSpPr>
          <a:xfrm>
            <a:off x="2864891" y="1677002"/>
            <a:ext cx="3168352" cy="4426026"/>
            <a:chOff x="3031895" y="1733867"/>
            <a:chExt cx="3168352" cy="4426026"/>
          </a:xfrm>
        </p:grpSpPr>
        <p:grpSp>
          <p:nvGrpSpPr>
            <p:cNvPr id="6" name="Gruppieren 5"/>
            <p:cNvGrpSpPr/>
            <p:nvPr>
              <p:custDataLst>
                <p:tags r:id="rId4"/>
              </p:custDataLst>
            </p:nvPr>
          </p:nvGrpSpPr>
          <p:grpSpPr bwMode="gray">
            <a:xfrm>
              <a:off x="3031895" y="1733867"/>
              <a:ext cx="3168352" cy="4426026"/>
              <a:chOff x="-7162800" y="-1184275"/>
              <a:chExt cx="5307012" cy="7413625"/>
            </a:xfrm>
            <a:solidFill>
              <a:schemeClr val="accent1"/>
            </a:solidFill>
          </p:grpSpPr>
          <p:sp>
            <p:nvSpPr>
              <p:cNvPr id="7" name="Freeform 6"/>
              <p:cNvSpPr>
                <a:spLocks noEditPoints="1"/>
              </p:cNvSpPr>
              <p:nvPr/>
            </p:nvSpPr>
            <p:spPr bwMode="gray">
              <a:xfrm>
                <a:off x="-6621463" y="23813"/>
                <a:ext cx="2805112" cy="2452688"/>
              </a:xfrm>
              <a:custGeom>
                <a:avLst/>
                <a:gdLst/>
                <a:ahLst/>
                <a:cxnLst>
                  <a:cxn ang="0">
                    <a:pos x="909" y="40"/>
                  </a:cxn>
                  <a:cxn ang="0">
                    <a:pos x="704" y="0"/>
                  </a:cxn>
                  <a:cxn ang="0">
                    <a:pos x="675" y="106"/>
                  </a:cxn>
                  <a:cxn ang="0">
                    <a:pos x="666" y="220"/>
                  </a:cxn>
                  <a:cxn ang="0">
                    <a:pos x="597" y="151"/>
                  </a:cxn>
                  <a:cxn ang="0">
                    <a:pos x="569" y="269"/>
                  </a:cxn>
                  <a:cxn ang="0">
                    <a:pos x="500" y="194"/>
                  </a:cxn>
                  <a:cxn ang="0">
                    <a:pos x="477" y="102"/>
                  </a:cxn>
                  <a:cxn ang="0">
                    <a:pos x="366" y="90"/>
                  </a:cxn>
                  <a:cxn ang="0">
                    <a:pos x="264" y="99"/>
                  </a:cxn>
                  <a:cxn ang="0">
                    <a:pos x="170" y="144"/>
                  </a:cxn>
                  <a:cxn ang="0">
                    <a:pos x="141" y="208"/>
                  </a:cxn>
                  <a:cxn ang="0">
                    <a:pos x="174" y="276"/>
                  </a:cxn>
                  <a:cxn ang="0">
                    <a:pos x="243" y="345"/>
                  </a:cxn>
                  <a:cxn ang="0">
                    <a:pos x="198" y="371"/>
                  </a:cxn>
                  <a:cxn ang="0">
                    <a:pos x="172" y="529"/>
                  </a:cxn>
                  <a:cxn ang="0">
                    <a:pos x="108" y="704"/>
                  </a:cxn>
                  <a:cxn ang="0">
                    <a:pos x="2" y="709"/>
                  </a:cxn>
                  <a:cxn ang="0">
                    <a:pos x="0" y="791"/>
                  </a:cxn>
                  <a:cxn ang="0">
                    <a:pos x="82" y="810"/>
                  </a:cxn>
                  <a:cxn ang="0">
                    <a:pos x="172" y="886"/>
                  </a:cxn>
                  <a:cxn ang="0">
                    <a:pos x="271" y="886"/>
                  </a:cxn>
                  <a:cxn ang="0">
                    <a:pos x="335" y="820"/>
                  </a:cxn>
                  <a:cxn ang="0">
                    <a:pos x="422" y="886"/>
                  </a:cxn>
                  <a:cxn ang="0">
                    <a:pos x="413" y="987"/>
                  </a:cxn>
                  <a:cxn ang="0">
                    <a:pos x="399" y="1046"/>
                  </a:cxn>
                  <a:cxn ang="0">
                    <a:pos x="517" y="1044"/>
                  </a:cxn>
                  <a:cxn ang="0">
                    <a:pos x="578" y="1044"/>
                  </a:cxn>
                  <a:cxn ang="0">
                    <a:pos x="604" y="983"/>
                  </a:cxn>
                  <a:cxn ang="0">
                    <a:pos x="557" y="881"/>
                  </a:cxn>
                  <a:cxn ang="0">
                    <a:pos x="595" y="836"/>
                  </a:cxn>
                  <a:cxn ang="0">
                    <a:pos x="687" y="803"/>
                  </a:cxn>
                  <a:cxn ang="0">
                    <a:pos x="734" y="874"/>
                  </a:cxn>
                  <a:cxn ang="0">
                    <a:pos x="824" y="813"/>
                  </a:cxn>
                  <a:cxn ang="0">
                    <a:pos x="831" y="919"/>
                  </a:cxn>
                  <a:cxn ang="0">
                    <a:pos x="822" y="1009"/>
                  </a:cxn>
                  <a:cxn ang="0">
                    <a:pos x="852" y="1094"/>
                  </a:cxn>
                  <a:cxn ang="0">
                    <a:pos x="890" y="1153"/>
                  </a:cxn>
                  <a:cxn ang="0">
                    <a:pos x="954" y="1209"/>
                  </a:cxn>
                  <a:cxn ang="0">
                    <a:pos x="989" y="1335"/>
                  </a:cxn>
                  <a:cxn ang="0">
                    <a:pos x="1022" y="1391"/>
                  </a:cxn>
                  <a:cxn ang="0">
                    <a:pos x="982" y="1483"/>
                  </a:cxn>
                  <a:cxn ang="0">
                    <a:pos x="1044" y="1542"/>
                  </a:cxn>
                  <a:cxn ang="0">
                    <a:pos x="1084" y="1493"/>
                  </a:cxn>
                  <a:cxn ang="0">
                    <a:pos x="1202" y="1450"/>
                  </a:cxn>
                  <a:cxn ang="0">
                    <a:pos x="1304" y="1412"/>
                  </a:cxn>
                  <a:cxn ang="0">
                    <a:pos x="1405" y="1389"/>
                  </a:cxn>
                  <a:cxn ang="0">
                    <a:pos x="1391" y="1290"/>
                  </a:cxn>
                  <a:cxn ang="0">
                    <a:pos x="1386" y="1176"/>
                  </a:cxn>
                  <a:cxn ang="0">
                    <a:pos x="1502" y="1103"/>
                  </a:cxn>
                  <a:cxn ang="0">
                    <a:pos x="1547" y="940"/>
                  </a:cxn>
                  <a:cxn ang="0">
                    <a:pos x="1533" y="796"/>
                  </a:cxn>
                  <a:cxn ang="0">
                    <a:pos x="1493" y="635"/>
                  </a:cxn>
                  <a:cxn ang="0">
                    <a:pos x="1597" y="619"/>
                  </a:cxn>
                  <a:cxn ang="0">
                    <a:pos x="1726" y="548"/>
                  </a:cxn>
                  <a:cxn ang="0">
                    <a:pos x="1589" y="446"/>
                  </a:cxn>
                  <a:cxn ang="0">
                    <a:pos x="1415" y="328"/>
                  </a:cxn>
                  <a:cxn ang="0">
                    <a:pos x="1322" y="319"/>
                  </a:cxn>
                  <a:cxn ang="0">
                    <a:pos x="1162" y="290"/>
                  </a:cxn>
                  <a:cxn ang="0">
                    <a:pos x="694" y="425"/>
                  </a:cxn>
                  <a:cxn ang="0">
                    <a:pos x="857" y="479"/>
                  </a:cxn>
                  <a:cxn ang="0">
                    <a:pos x="772" y="555"/>
                  </a:cxn>
                  <a:cxn ang="0">
                    <a:pos x="692" y="432"/>
                  </a:cxn>
                </a:cxnLst>
                <a:rect l="0" t="0" r="r" b="b"/>
                <a:pathLst>
                  <a:path w="1767" h="1545">
                    <a:moveTo>
                      <a:pt x="1093" y="231"/>
                    </a:moveTo>
                    <a:lnTo>
                      <a:pt x="1067" y="205"/>
                    </a:lnTo>
                    <a:lnTo>
                      <a:pt x="1044" y="182"/>
                    </a:lnTo>
                    <a:lnTo>
                      <a:pt x="1022" y="149"/>
                    </a:lnTo>
                    <a:lnTo>
                      <a:pt x="961" y="97"/>
                    </a:lnTo>
                    <a:lnTo>
                      <a:pt x="933" y="54"/>
                    </a:lnTo>
                    <a:lnTo>
                      <a:pt x="909" y="40"/>
                    </a:lnTo>
                    <a:lnTo>
                      <a:pt x="869" y="33"/>
                    </a:lnTo>
                    <a:lnTo>
                      <a:pt x="831" y="42"/>
                    </a:lnTo>
                    <a:lnTo>
                      <a:pt x="798" y="45"/>
                    </a:lnTo>
                    <a:lnTo>
                      <a:pt x="770" y="38"/>
                    </a:lnTo>
                    <a:lnTo>
                      <a:pt x="748" y="16"/>
                    </a:lnTo>
                    <a:lnTo>
                      <a:pt x="727" y="0"/>
                    </a:lnTo>
                    <a:lnTo>
                      <a:pt x="704" y="0"/>
                    </a:lnTo>
                    <a:lnTo>
                      <a:pt x="682" y="12"/>
                    </a:lnTo>
                    <a:lnTo>
                      <a:pt x="668" y="45"/>
                    </a:lnTo>
                    <a:lnTo>
                      <a:pt x="661" y="71"/>
                    </a:lnTo>
                    <a:lnTo>
                      <a:pt x="652" y="90"/>
                    </a:lnTo>
                    <a:lnTo>
                      <a:pt x="649" y="118"/>
                    </a:lnTo>
                    <a:lnTo>
                      <a:pt x="666" y="116"/>
                    </a:lnTo>
                    <a:lnTo>
                      <a:pt x="675" y="106"/>
                    </a:lnTo>
                    <a:lnTo>
                      <a:pt x="687" y="106"/>
                    </a:lnTo>
                    <a:lnTo>
                      <a:pt x="706" y="120"/>
                    </a:lnTo>
                    <a:lnTo>
                      <a:pt x="715" y="142"/>
                    </a:lnTo>
                    <a:lnTo>
                      <a:pt x="715" y="175"/>
                    </a:lnTo>
                    <a:lnTo>
                      <a:pt x="706" y="205"/>
                    </a:lnTo>
                    <a:lnTo>
                      <a:pt x="689" y="217"/>
                    </a:lnTo>
                    <a:lnTo>
                      <a:pt x="666" y="220"/>
                    </a:lnTo>
                    <a:lnTo>
                      <a:pt x="656" y="196"/>
                    </a:lnTo>
                    <a:lnTo>
                      <a:pt x="654" y="179"/>
                    </a:lnTo>
                    <a:lnTo>
                      <a:pt x="647" y="175"/>
                    </a:lnTo>
                    <a:lnTo>
                      <a:pt x="640" y="189"/>
                    </a:lnTo>
                    <a:lnTo>
                      <a:pt x="628" y="191"/>
                    </a:lnTo>
                    <a:lnTo>
                      <a:pt x="614" y="175"/>
                    </a:lnTo>
                    <a:lnTo>
                      <a:pt x="597" y="151"/>
                    </a:lnTo>
                    <a:lnTo>
                      <a:pt x="581" y="151"/>
                    </a:lnTo>
                    <a:lnTo>
                      <a:pt x="562" y="161"/>
                    </a:lnTo>
                    <a:lnTo>
                      <a:pt x="557" y="184"/>
                    </a:lnTo>
                    <a:lnTo>
                      <a:pt x="564" y="203"/>
                    </a:lnTo>
                    <a:lnTo>
                      <a:pt x="574" y="217"/>
                    </a:lnTo>
                    <a:lnTo>
                      <a:pt x="576" y="246"/>
                    </a:lnTo>
                    <a:lnTo>
                      <a:pt x="569" y="269"/>
                    </a:lnTo>
                    <a:lnTo>
                      <a:pt x="550" y="286"/>
                    </a:lnTo>
                    <a:lnTo>
                      <a:pt x="531" y="281"/>
                    </a:lnTo>
                    <a:lnTo>
                      <a:pt x="517" y="260"/>
                    </a:lnTo>
                    <a:lnTo>
                      <a:pt x="505" y="239"/>
                    </a:lnTo>
                    <a:lnTo>
                      <a:pt x="491" y="217"/>
                    </a:lnTo>
                    <a:lnTo>
                      <a:pt x="489" y="205"/>
                    </a:lnTo>
                    <a:lnTo>
                      <a:pt x="500" y="194"/>
                    </a:lnTo>
                    <a:lnTo>
                      <a:pt x="515" y="187"/>
                    </a:lnTo>
                    <a:lnTo>
                      <a:pt x="519" y="177"/>
                    </a:lnTo>
                    <a:lnTo>
                      <a:pt x="512" y="161"/>
                    </a:lnTo>
                    <a:lnTo>
                      <a:pt x="496" y="149"/>
                    </a:lnTo>
                    <a:lnTo>
                      <a:pt x="493" y="135"/>
                    </a:lnTo>
                    <a:lnTo>
                      <a:pt x="489" y="113"/>
                    </a:lnTo>
                    <a:lnTo>
                      <a:pt x="477" y="102"/>
                    </a:lnTo>
                    <a:lnTo>
                      <a:pt x="456" y="97"/>
                    </a:lnTo>
                    <a:lnTo>
                      <a:pt x="425" y="94"/>
                    </a:lnTo>
                    <a:lnTo>
                      <a:pt x="408" y="94"/>
                    </a:lnTo>
                    <a:lnTo>
                      <a:pt x="399" y="99"/>
                    </a:lnTo>
                    <a:lnTo>
                      <a:pt x="387" y="102"/>
                    </a:lnTo>
                    <a:lnTo>
                      <a:pt x="375" y="97"/>
                    </a:lnTo>
                    <a:lnTo>
                      <a:pt x="366" y="90"/>
                    </a:lnTo>
                    <a:lnTo>
                      <a:pt x="352" y="90"/>
                    </a:lnTo>
                    <a:lnTo>
                      <a:pt x="337" y="102"/>
                    </a:lnTo>
                    <a:lnTo>
                      <a:pt x="323" y="109"/>
                    </a:lnTo>
                    <a:lnTo>
                      <a:pt x="309" y="116"/>
                    </a:lnTo>
                    <a:lnTo>
                      <a:pt x="293" y="113"/>
                    </a:lnTo>
                    <a:lnTo>
                      <a:pt x="278" y="104"/>
                    </a:lnTo>
                    <a:lnTo>
                      <a:pt x="264" y="99"/>
                    </a:lnTo>
                    <a:lnTo>
                      <a:pt x="248" y="99"/>
                    </a:lnTo>
                    <a:lnTo>
                      <a:pt x="224" y="106"/>
                    </a:lnTo>
                    <a:lnTo>
                      <a:pt x="207" y="116"/>
                    </a:lnTo>
                    <a:lnTo>
                      <a:pt x="198" y="127"/>
                    </a:lnTo>
                    <a:lnTo>
                      <a:pt x="191" y="137"/>
                    </a:lnTo>
                    <a:lnTo>
                      <a:pt x="184" y="142"/>
                    </a:lnTo>
                    <a:lnTo>
                      <a:pt x="170" y="144"/>
                    </a:lnTo>
                    <a:lnTo>
                      <a:pt x="160" y="156"/>
                    </a:lnTo>
                    <a:lnTo>
                      <a:pt x="158" y="168"/>
                    </a:lnTo>
                    <a:lnTo>
                      <a:pt x="167" y="177"/>
                    </a:lnTo>
                    <a:lnTo>
                      <a:pt x="174" y="187"/>
                    </a:lnTo>
                    <a:lnTo>
                      <a:pt x="170" y="196"/>
                    </a:lnTo>
                    <a:lnTo>
                      <a:pt x="158" y="205"/>
                    </a:lnTo>
                    <a:lnTo>
                      <a:pt x="141" y="208"/>
                    </a:lnTo>
                    <a:lnTo>
                      <a:pt x="130" y="215"/>
                    </a:lnTo>
                    <a:lnTo>
                      <a:pt x="120" y="231"/>
                    </a:lnTo>
                    <a:lnTo>
                      <a:pt x="120" y="248"/>
                    </a:lnTo>
                    <a:lnTo>
                      <a:pt x="122" y="264"/>
                    </a:lnTo>
                    <a:lnTo>
                      <a:pt x="134" y="274"/>
                    </a:lnTo>
                    <a:lnTo>
                      <a:pt x="156" y="274"/>
                    </a:lnTo>
                    <a:lnTo>
                      <a:pt x="174" y="276"/>
                    </a:lnTo>
                    <a:lnTo>
                      <a:pt x="200" y="279"/>
                    </a:lnTo>
                    <a:lnTo>
                      <a:pt x="226" y="286"/>
                    </a:lnTo>
                    <a:lnTo>
                      <a:pt x="252" y="302"/>
                    </a:lnTo>
                    <a:lnTo>
                      <a:pt x="262" y="316"/>
                    </a:lnTo>
                    <a:lnTo>
                      <a:pt x="267" y="335"/>
                    </a:lnTo>
                    <a:lnTo>
                      <a:pt x="262" y="345"/>
                    </a:lnTo>
                    <a:lnTo>
                      <a:pt x="243" y="345"/>
                    </a:lnTo>
                    <a:lnTo>
                      <a:pt x="231" y="335"/>
                    </a:lnTo>
                    <a:lnTo>
                      <a:pt x="224" y="321"/>
                    </a:lnTo>
                    <a:lnTo>
                      <a:pt x="212" y="312"/>
                    </a:lnTo>
                    <a:lnTo>
                      <a:pt x="205" y="312"/>
                    </a:lnTo>
                    <a:lnTo>
                      <a:pt x="198" y="328"/>
                    </a:lnTo>
                    <a:lnTo>
                      <a:pt x="196" y="345"/>
                    </a:lnTo>
                    <a:lnTo>
                      <a:pt x="198" y="371"/>
                    </a:lnTo>
                    <a:lnTo>
                      <a:pt x="191" y="397"/>
                    </a:lnTo>
                    <a:lnTo>
                      <a:pt x="184" y="425"/>
                    </a:lnTo>
                    <a:lnTo>
                      <a:pt x="182" y="456"/>
                    </a:lnTo>
                    <a:lnTo>
                      <a:pt x="193" y="477"/>
                    </a:lnTo>
                    <a:lnTo>
                      <a:pt x="193" y="496"/>
                    </a:lnTo>
                    <a:lnTo>
                      <a:pt x="189" y="515"/>
                    </a:lnTo>
                    <a:lnTo>
                      <a:pt x="172" y="529"/>
                    </a:lnTo>
                    <a:lnTo>
                      <a:pt x="153" y="546"/>
                    </a:lnTo>
                    <a:lnTo>
                      <a:pt x="137" y="572"/>
                    </a:lnTo>
                    <a:lnTo>
                      <a:pt x="134" y="605"/>
                    </a:lnTo>
                    <a:lnTo>
                      <a:pt x="127" y="640"/>
                    </a:lnTo>
                    <a:lnTo>
                      <a:pt x="118" y="666"/>
                    </a:lnTo>
                    <a:lnTo>
                      <a:pt x="113" y="694"/>
                    </a:lnTo>
                    <a:lnTo>
                      <a:pt x="108" y="704"/>
                    </a:lnTo>
                    <a:lnTo>
                      <a:pt x="89" y="706"/>
                    </a:lnTo>
                    <a:lnTo>
                      <a:pt x="70" y="701"/>
                    </a:lnTo>
                    <a:lnTo>
                      <a:pt x="59" y="697"/>
                    </a:lnTo>
                    <a:lnTo>
                      <a:pt x="40" y="694"/>
                    </a:lnTo>
                    <a:lnTo>
                      <a:pt x="19" y="694"/>
                    </a:lnTo>
                    <a:lnTo>
                      <a:pt x="4" y="699"/>
                    </a:lnTo>
                    <a:lnTo>
                      <a:pt x="2" y="709"/>
                    </a:lnTo>
                    <a:lnTo>
                      <a:pt x="9" y="720"/>
                    </a:lnTo>
                    <a:lnTo>
                      <a:pt x="19" y="725"/>
                    </a:lnTo>
                    <a:lnTo>
                      <a:pt x="21" y="737"/>
                    </a:lnTo>
                    <a:lnTo>
                      <a:pt x="19" y="746"/>
                    </a:lnTo>
                    <a:lnTo>
                      <a:pt x="7" y="761"/>
                    </a:lnTo>
                    <a:lnTo>
                      <a:pt x="2" y="772"/>
                    </a:lnTo>
                    <a:lnTo>
                      <a:pt x="0" y="791"/>
                    </a:lnTo>
                    <a:lnTo>
                      <a:pt x="4" y="805"/>
                    </a:lnTo>
                    <a:lnTo>
                      <a:pt x="16" y="815"/>
                    </a:lnTo>
                    <a:lnTo>
                      <a:pt x="33" y="815"/>
                    </a:lnTo>
                    <a:lnTo>
                      <a:pt x="49" y="810"/>
                    </a:lnTo>
                    <a:lnTo>
                      <a:pt x="61" y="803"/>
                    </a:lnTo>
                    <a:lnTo>
                      <a:pt x="75" y="801"/>
                    </a:lnTo>
                    <a:lnTo>
                      <a:pt x="82" y="810"/>
                    </a:lnTo>
                    <a:lnTo>
                      <a:pt x="85" y="829"/>
                    </a:lnTo>
                    <a:lnTo>
                      <a:pt x="85" y="843"/>
                    </a:lnTo>
                    <a:lnTo>
                      <a:pt x="89" y="857"/>
                    </a:lnTo>
                    <a:lnTo>
                      <a:pt x="104" y="874"/>
                    </a:lnTo>
                    <a:lnTo>
                      <a:pt x="120" y="886"/>
                    </a:lnTo>
                    <a:lnTo>
                      <a:pt x="144" y="888"/>
                    </a:lnTo>
                    <a:lnTo>
                      <a:pt x="172" y="886"/>
                    </a:lnTo>
                    <a:lnTo>
                      <a:pt x="200" y="886"/>
                    </a:lnTo>
                    <a:lnTo>
                      <a:pt x="222" y="881"/>
                    </a:lnTo>
                    <a:lnTo>
                      <a:pt x="231" y="876"/>
                    </a:lnTo>
                    <a:lnTo>
                      <a:pt x="245" y="879"/>
                    </a:lnTo>
                    <a:lnTo>
                      <a:pt x="255" y="883"/>
                    </a:lnTo>
                    <a:lnTo>
                      <a:pt x="264" y="888"/>
                    </a:lnTo>
                    <a:lnTo>
                      <a:pt x="271" y="886"/>
                    </a:lnTo>
                    <a:lnTo>
                      <a:pt x="281" y="872"/>
                    </a:lnTo>
                    <a:lnTo>
                      <a:pt x="288" y="853"/>
                    </a:lnTo>
                    <a:lnTo>
                      <a:pt x="295" y="836"/>
                    </a:lnTo>
                    <a:lnTo>
                      <a:pt x="307" y="822"/>
                    </a:lnTo>
                    <a:lnTo>
                      <a:pt x="316" y="815"/>
                    </a:lnTo>
                    <a:lnTo>
                      <a:pt x="328" y="815"/>
                    </a:lnTo>
                    <a:lnTo>
                      <a:pt x="335" y="820"/>
                    </a:lnTo>
                    <a:lnTo>
                      <a:pt x="345" y="831"/>
                    </a:lnTo>
                    <a:lnTo>
                      <a:pt x="363" y="843"/>
                    </a:lnTo>
                    <a:lnTo>
                      <a:pt x="375" y="853"/>
                    </a:lnTo>
                    <a:lnTo>
                      <a:pt x="389" y="864"/>
                    </a:lnTo>
                    <a:lnTo>
                      <a:pt x="401" y="864"/>
                    </a:lnTo>
                    <a:lnTo>
                      <a:pt x="413" y="872"/>
                    </a:lnTo>
                    <a:lnTo>
                      <a:pt x="422" y="886"/>
                    </a:lnTo>
                    <a:lnTo>
                      <a:pt x="427" y="900"/>
                    </a:lnTo>
                    <a:lnTo>
                      <a:pt x="430" y="912"/>
                    </a:lnTo>
                    <a:lnTo>
                      <a:pt x="432" y="928"/>
                    </a:lnTo>
                    <a:lnTo>
                      <a:pt x="427" y="954"/>
                    </a:lnTo>
                    <a:lnTo>
                      <a:pt x="420" y="964"/>
                    </a:lnTo>
                    <a:lnTo>
                      <a:pt x="413" y="978"/>
                    </a:lnTo>
                    <a:lnTo>
                      <a:pt x="413" y="987"/>
                    </a:lnTo>
                    <a:lnTo>
                      <a:pt x="420" y="994"/>
                    </a:lnTo>
                    <a:lnTo>
                      <a:pt x="434" y="999"/>
                    </a:lnTo>
                    <a:lnTo>
                      <a:pt x="437" y="1006"/>
                    </a:lnTo>
                    <a:lnTo>
                      <a:pt x="439" y="1016"/>
                    </a:lnTo>
                    <a:lnTo>
                      <a:pt x="427" y="1025"/>
                    </a:lnTo>
                    <a:lnTo>
                      <a:pt x="413" y="1035"/>
                    </a:lnTo>
                    <a:lnTo>
                      <a:pt x="399" y="1046"/>
                    </a:lnTo>
                    <a:lnTo>
                      <a:pt x="396" y="1058"/>
                    </a:lnTo>
                    <a:lnTo>
                      <a:pt x="399" y="1070"/>
                    </a:lnTo>
                    <a:lnTo>
                      <a:pt x="413" y="1075"/>
                    </a:lnTo>
                    <a:lnTo>
                      <a:pt x="437" y="1075"/>
                    </a:lnTo>
                    <a:lnTo>
                      <a:pt x="465" y="1068"/>
                    </a:lnTo>
                    <a:lnTo>
                      <a:pt x="493" y="1056"/>
                    </a:lnTo>
                    <a:lnTo>
                      <a:pt x="517" y="1044"/>
                    </a:lnTo>
                    <a:lnTo>
                      <a:pt x="531" y="1032"/>
                    </a:lnTo>
                    <a:lnTo>
                      <a:pt x="541" y="1023"/>
                    </a:lnTo>
                    <a:lnTo>
                      <a:pt x="555" y="1023"/>
                    </a:lnTo>
                    <a:lnTo>
                      <a:pt x="559" y="1027"/>
                    </a:lnTo>
                    <a:lnTo>
                      <a:pt x="564" y="1037"/>
                    </a:lnTo>
                    <a:lnTo>
                      <a:pt x="569" y="1044"/>
                    </a:lnTo>
                    <a:lnTo>
                      <a:pt x="578" y="1044"/>
                    </a:lnTo>
                    <a:lnTo>
                      <a:pt x="588" y="1035"/>
                    </a:lnTo>
                    <a:lnTo>
                      <a:pt x="593" y="1025"/>
                    </a:lnTo>
                    <a:lnTo>
                      <a:pt x="597" y="1018"/>
                    </a:lnTo>
                    <a:lnTo>
                      <a:pt x="607" y="1013"/>
                    </a:lnTo>
                    <a:lnTo>
                      <a:pt x="616" y="1004"/>
                    </a:lnTo>
                    <a:lnTo>
                      <a:pt x="616" y="997"/>
                    </a:lnTo>
                    <a:lnTo>
                      <a:pt x="604" y="983"/>
                    </a:lnTo>
                    <a:lnTo>
                      <a:pt x="590" y="971"/>
                    </a:lnTo>
                    <a:lnTo>
                      <a:pt x="578" y="964"/>
                    </a:lnTo>
                    <a:lnTo>
                      <a:pt x="569" y="957"/>
                    </a:lnTo>
                    <a:lnTo>
                      <a:pt x="564" y="935"/>
                    </a:lnTo>
                    <a:lnTo>
                      <a:pt x="564" y="914"/>
                    </a:lnTo>
                    <a:lnTo>
                      <a:pt x="564" y="890"/>
                    </a:lnTo>
                    <a:lnTo>
                      <a:pt x="557" y="881"/>
                    </a:lnTo>
                    <a:lnTo>
                      <a:pt x="548" y="869"/>
                    </a:lnTo>
                    <a:lnTo>
                      <a:pt x="541" y="860"/>
                    </a:lnTo>
                    <a:lnTo>
                      <a:pt x="541" y="848"/>
                    </a:lnTo>
                    <a:lnTo>
                      <a:pt x="548" y="834"/>
                    </a:lnTo>
                    <a:lnTo>
                      <a:pt x="564" y="829"/>
                    </a:lnTo>
                    <a:lnTo>
                      <a:pt x="576" y="829"/>
                    </a:lnTo>
                    <a:lnTo>
                      <a:pt x="595" y="836"/>
                    </a:lnTo>
                    <a:lnTo>
                      <a:pt x="607" y="838"/>
                    </a:lnTo>
                    <a:lnTo>
                      <a:pt x="619" y="838"/>
                    </a:lnTo>
                    <a:lnTo>
                      <a:pt x="633" y="834"/>
                    </a:lnTo>
                    <a:lnTo>
                      <a:pt x="645" y="824"/>
                    </a:lnTo>
                    <a:lnTo>
                      <a:pt x="659" y="810"/>
                    </a:lnTo>
                    <a:lnTo>
                      <a:pt x="673" y="803"/>
                    </a:lnTo>
                    <a:lnTo>
                      <a:pt x="687" y="803"/>
                    </a:lnTo>
                    <a:lnTo>
                      <a:pt x="699" y="805"/>
                    </a:lnTo>
                    <a:lnTo>
                      <a:pt x="706" y="815"/>
                    </a:lnTo>
                    <a:lnTo>
                      <a:pt x="708" y="831"/>
                    </a:lnTo>
                    <a:lnTo>
                      <a:pt x="708" y="846"/>
                    </a:lnTo>
                    <a:lnTo>
                      <a:pt x="711" y="862"/>
                    </a:lnTo>
                    <a:lnTo>
                      <a:pt x="720" y="869"/>
                    </a:lnTo>
                    <a:lnTo>
                      <a:pt x="734" y="874"/>
                    </a:lnTo>
                    <a:lnTo>
                      <a:pt x="744" y="874"/>
                    </a:lnTo>
                    <a:lnTo>
                      <a:pt x="763" y="864"/>
                    </a:lnTo>
                    <a:lnTo>
                      <a:pt x="772" y="848"/>
                    </a:lnTo>
                    <a:lnTo>
                      <a:pt x="789" y="841"/>
                    </a:lnTo>
                    <a:lnTo>
                      <a:pt x="800" y="831"/>
                    </a:lnTo>
                    <a:lnTo>
                      <a:pt x="808" y="820"/>
                    </a:lnTo>
                    <a:lnTo>
                      <a:pt x="824" y="813"/>
                    </a:lnTo>
                    <a:lnTo>
                      <a:pt x="838" y="815"/>
                    </a:lnTo>
                    <a:lnTo>
                      <a:pt x="848" y="824"/>
                    </a:lnTo>
                    <a:lnTo>
                      <a:pt x="855" y="841"/>
                    </a:lnTo>
                    <a:lnTo>
                      <a:pt x="857" y="869"/>
                    </a:lnTo>
                    <a:lnTo>
                      <a:pt x="855" y="890"/>
                    </a:lnTo>
                    <a:lnTo>
                      <a:pt x="848" y="905"/>
                    </a:lnTo>
                    <a:lnTo>
                      <a:pt x="831" y="919"/>
                    </a:lnTo>
                    <a:lnTo>
                      <a:pt x="815" y="931"/>
                    </a:lnTo>
                    <a:lnTo>
                      <a:pt x="803" y="942"/>
                    </a:lnTo>
                    <a:lnTo>
                      <a:pt x="805" y="954"/>
                    </a:lnTo>
                    <a:lnTo>
                      <a:pt x="815" y="961"/>
                    </a:lnTo>
                    <a:lnTo>
                      <a:pt x="817" y="975"/>
                    </a:lnTo>
                    <a:lnTo>
                      <a:pt x="822" y="990"/>
                    </a:lnTo>
                    <a:lnTo>
                      <a:pt x="822" y="1009"/>
                    </a:lnTo>
                    <a:lnTo>
                      <a:pt x="817" y="1027"/>
                    </a:lnTo>
                    <a:lnTo>
                      <a:pt x="819" y="1042"/>
                    </a:lnTo>
                    <a:lnTo>
                      <a:pt x="838" y="1053"/>
                    </a:lnTo>
                    <a:lnTo>
                      <a:pt x="862" y="1063"/>
                    </a:lnTo>
                    <a:lnTo>
                      <a:pt x="864" y="1075"/>
                    </a:lnTo>
                    <a:lnTo>
                      <a:pt x="862" y="1084"/>
                    </a:lnTo>
                    <a:lnTo>
                      <a:pt x="852" y="1094"/>
                    </a:lnTo>
                    <a:lnTo>
                      <a:pt x="852" y="1101"/>
                    </a:lnTo>
                    <a:lnTo>
                      <a:pt x="852" y="1112"/>
                    </a:lnTo>
                    <a:lnTo>
                      <a:pt x="862" y="1122"/>
                    </a:lnTo>
                    <a:lnTo>
                      <a:pt x="876" y="1124"/>
                    </a:lnTo>
                    <a:lnTo>
                      <a:pt x="883" y="1129"/>
                    </a:lnTo>
                    <a:lnTo>
                      <a:pt x="890" y="1138"/>
                    </a:lnTo>
                    <a:lnTo>
                      <a:pt x="890" y="1153"/>
                    </a:lnTo>
                    <a:lnTo>
                      <a:pt x="893" y="1164"/>
                    </a:lnTo>
                    <a:lnTo>
                      <a:pt x="897" y="1169"/>
                    </a:lnTo>
                    <a:lnTo>
                      <a:pt x="902" y="1181"/>
                    </a:lnTo>
                    <a:lnTo>
                      <a:pt x="909" y="1188"/>
                    </a:lnTo>
                    <a:lnTo>
                      <a:pt x="933" y="1193"/>
                    </a:lnTo>
                    <a:lnTo>
                      <a:pt x="945" y="1195"/>
                    </a:lnTo>
                    <a:lnTo>
                      <a:pt x="954" y="1209"/>
                    </a:lnTo>
                    <a:lnTo>
                      <a:pt x="954" y="1233"/>
                    </a:lnTo>
                    <a:lnTo>
                      <a:pt x="940" y="1257"/>
                    </a:lnTo>
                    <a:lnTo>
                      <a:pt x="928" y="1283"/>
                    </a:lnTo>
                    <a:lnTo>
                      <a:pt x="923" y="1309"/>
                    </a:lnTo>
                    <a:lnTo>
                      <a:pt x="928" y="1318"/>
                    </a:lnTo>
                    <a:lnTo>
                      <a:pt x="956" y="1332"/>
                    </a:lnTo>
                    <a:lnTo>
                      <a:pt x="989" y="1335"/>
                    </a:lnTo>
                    <a:lnTo>
                      <a:pt x="1020" y="1335"/>
                    </a:lnTo>
                    <a:lnTo>
                      <a:pt x="1034" y="1344"/>
                    </a:lnTo>
                    <a:lnTo>
                      <a:pt x="1046" y="1365"/>
                    </a:lnTo>
                    <a:lnTo>
                      <a:pt x="1051" y="1379"/>
                    </a:lnTo>
                    <a:lnTo>
                      <a:pt x="1048" y="1389"/>
                    </a:lnTo>
                    <a:lnTo>
                      <a:pt x="1037" y="1394"/>
                    </a:lnTo>
                    <a:lnTo>
                      <a:pt x="1022" y="1391"/>
                    </a:lnTo>
                    <a:lnTo>
                      <a:pt x="1013" y="1403"/>
                    </a:lnTo>
                    <a:lnTo>
                      <a:pt x="1013" y="1420"/>
                    </a:lnTo>
                    <a:lnTo>
                      <a:pt x="1020" y="1429"/>
                    </a:lnTo>
                    <a:lnTo>
                      <a:pt x="1022" y="1448"/>
                    </a:lnTo>
                    <a:lnTo>
                      <a:pt x="1018" y="1462"/>
                    </a:lnTo>
                    <a:lnTo>
                      <a:pt x="1001" y="1472"/>
                    </a:lnTo>
                    <a:lnTo>
                      <a:pt x="982" y="1483"/>
                    </a:lnTo>
                    <a:lnTo>
                      <a:pt x="975" y="1493"/>
                    </a:lnTo>
                    <a:lnTo>
                      <a:pt x="971" y="1507"/>
                    </a:lnTo>
                    <a:lnTo>
                      <a:pt x="975" y="1524"/>
                    </a:lnTo>
                    <a:lnTo>
                      <a:pt x="992" y="1533"/>
                    </a:lnTo>
                    <a:lnTo>
                      <a:pt x="1011" y="1542"/>
                    </a:lnTo>
                    <a:lnTo>
                      <a:pt x="1025" y="1545"/>
                    </a:lnTo>
                    <a:lnTo>
                      <a:pt x="1044" y="1542"/>
                    </a:lnTo>
                    <a:lnTo>
                      <a:pt x="1053" y="1540"/>
                    </a:lnTo>
                    <a:lnTo>
                      <a:pt x="1060" y="1526"/>
                    </a:lnTo>
                    <a:lnTo>
                      <a:pt x="1058" y="1516"/>
                    </a:lnTo>
                    <a:lnTo>
                      <a:pt x="1056" y="1507"/>
                    </a:lnTo>
                    <a:lnTo>
                      <a:pt x="1056" y="1498"/>
                    </a:lnTo>
                    <a:lnTo>
                      <a:pt x="1065" y="1493"/>
                    </a:lnTo>
                    <a:lnTo>
                      <a:pt x="1084" y="1493"/>
                    </a:lnTo>
                    <a:lnTo>
                      <a:pt x="1098" y="1493"/>
                    </a:lnTo>
                    <a:lnTo>
                      <a:pt x="1112" y="1490"/>
                    </a:lnTo>
                    <a:lnTo>
                      <a:pt x="1124" y="1481"/>
                    </a:lnTo>
                    <a:lnTo>
                      <a:pt x="1155" y="1462"/>
                    </a:lnTo>
                    <a:lnTo>
                      <a:pt x="1171" y="1455"/>
                    </a:lnTo>
                    <a:lnTo>
                      <a:pt x="1188" y="1450"/>
                    </a:lnTo>
                    <a:lnTo>
                      <a:pt x="1202" y="1450"/>
                    </a:lnTo>
                    <a:lnTo>
                      <a:pt x="1214" y="1443"/>
                    </a:lnTo>
                    <a:lnTo>
                      <a:pt x="1228" y="1429"/>
                    </a:lnTo>
                    <a:lnTo>
                      <a:pt x="1240" y="1415"/>
                    </a:lnTo>
                    <a:lnTo>
                      <a:pt x="1254" y="1405"/>
                    </a:lnTo>
                    <a:lnTo>
                      <a:pt x="1273" y="1403"/>
                    </a:lnTo>
                    <a:lnTo>
                      <a:pt x="1289" y="1405"/>
                    </a:lnTo>
                    <a:lnTo>
                      <a:pt x="1304" y="1412"/>
                    </a:lnTo>
                    <a:lnTo>
                      <a:pt x="1315" y="1415"/>
                    </a:lnTo>
                    <a:lnTo>
                      <a:pt x="1334" y="1408"/>
                    </a:lnTo>
                    <a:lnTo>
                      <a:pt x="1353" y="1398"/>
                    </a:lnTo>
                    <a:lnTo>
                      <a:pt x="1365" y="1394"/>
                    </a:lnTo>
                    <a:lnTo>
                      <a:pt x="1379" y="1391"/>
                    </a:lnTo>
                    <a:lnTo>
                      <a:pt x="1396" y="1391"/>
                    </a:lnTo>
                    <a:lnTo>
                      <a:pt x="1405" y="1389"/>
                    </a:lnTo>
                    <a:lnTo>
                      <a:pt x="1408" y="1379"/>
                    </a:lnTo>
                    <a:lnTo>
                      <a:pt x="1403" y="1370"/>
                    </a:lnTo>
                    <a:lnTo>
                      <a:pt x="1396" y="1361"/>
                    </a:lnTo>
                    <a:lnTo>
                      <a:pt x="1393" y="1349"/>
                    </a:lnTo>
                    <a:lnTo>
                      <a:pt x="1398" y="1327"/>
                    </a:lnTo>
                    <a:lnTo>
                      <a:pt x="1398" y="1304"/>
                    </a:lnTo>
                    <a:lnTo>
                      <a:pt x="1391" y="1290"/>
                    </a:lnTo>
                    <a:lnTo>
                      <a:pt x="1379" y="1261"/>
                    </a:lnTo>
                    <a:lnTo>
                      <a:pt x="1377" y="1240"/>
                    </a:lnTo>
                    <a:lnTo>
                      <a:pt x="1382" y="1219"/>
                    </a:lnTo>
                    <a:lnTo>
                      <a:pt x="1389" y="1207"/>
                    </a:lnTo>
                    <a:lnTo>
                      <a:pt x="1393" y="1200"/>
                    </a:lnTo>
                    <a:lnTo>
                      <a:pt x="1391" y="1186"/>
                    </a:lnTo>
                    <a:lnTo>
                      <a:pt x="1386" y="1176"/>
                    </a:lnTo>
                    <a:lnTo>
                      <a:pt x="1379" y="1162"/>
                    </a:lnTo>
                    <a:lnTo>
                      <a:pt x="1379" y="1148"/>
                    </a:lnTo>
                    <a:lnTo>
                      <a:pt x="1391" y="1136"/>
                    </a:lnTo>
                    <a:lnTo>
                      <a:pt x="1412" y="1134"/>
                    </a:lnTo>
                    <a:lnTo>
                      <a:pt x="1431" y="1136"/>
                    </a:lnTo>
                    <a:lnTo>
                      <a:pt x="1452" y="1134"/>
                    </a:lnTo>
                    <a:lnTo>
                      <a:pt x="1502" y="1103"/>
                    </a:lnTo>
                    <a:lnTo>
                      <a:pt x="1533" y="1072"/>
                    </a:lnTo>
                    <a:lnTo>
                      <a:pt x="1547" y="1044"/>
                    </a:lnTo>
                    <a:lnTo>
                      <a:pt x="1549" y="1016"/>
                    </a:lnTo>
                    <a:lnTo>
                      <a:pt x="1542" y="994"/>
                    </a:lnTo>
                    <a:lnTo>
                      <a:pt x="1535" y="978"/>
                    </a:lnTo>
                    <a:lnTo>
                      <a:pt x="1540" y="957"/>
                    </a:lnTo>
                    <a:lnTo>
                      <a:pt x="1547" y="940"/>
                    </a:lnTo>
                    <a:lnTo>
                      <a:pt x="1545" y="924"/>
                    </a:lnTo>
                    <a:lnTo>
                      <a:pt x="1535" y="907"/>
                    </a:lnTo>
                    <a:lnTo>
                      <a:pt x="1533" y="890"/>
                    </a:lnTo>
                    <a:lnTo>
                      <a:pt x="1545" y="874"/>
                    </a:lnTo>
                    <a:lnTo>
                      <a:pt x="1547" y="850"/>
                    </a:lnTo>
                    <a:lnTo>
                      <a:pt x="1535" y="829"/>
                    </a:lnTo>
                    <a:lnTo>
                      <a:pt x="1533" y="796"/>
                    </a:lnTo>
                    <a:lnTo>
                      <a:pt x="1516" y="765"/>
                    </a:lnTo>
                    <a:lnTo>
                      <a:pt x="1495" y="742"/>
                    </a:lnTo>
                    <a:lnTo>
                      <a:pt x="1481" y="718"/>
                    </a:lnTo>
                    <a:lnTo>
                      <a:pt x="1469" y="685"/>
                    </a:lnTo>
                    <a:lnTo>
                      <a:pt x="1467" y="657"/>
                    </a:lnTo>
                    <a:lnTo>
                      <a:pt x="1471" y="640"/>
                    </a:lnTo>
                    <a:lnTo>
                      <a:pt x="1493" y="635"/>
                    </a:lnTo>
                    <a:lnTo>
                      <a:pt x="1514" y="631"/>
                    </a:lnTo>
                    <a:lnTo>
                      <a:pt x="1526" y="619"/>
                    </a:lnTo>
                    <a:lnTo>
                      <a:pt x="1530" y="605"/>
                    </a:lnTo>
                    <a:lnTo>
                      <a:pt x="1547" y="590"/>
                    </a:lnTo>
                    <a:lnTo>
                      <a:pt x="1571" y="590"/>
                    </a:lnTo>
                    <a:lnTo>
                      <a:pt x="1585" y="600"/>
                    </a:lnTo>
                    <a:lnTo>
                      <a:pt x="1597" y="619"/>
                    </a:lnTo>
                    <a:lnTo>
                      <a:pt x="1613" y="621"/>
                    </a:lnTo>
                    <a:lnTo>
                      <a:pt x="1632" y="614"/>
                    </a:lnTo>
                    <a:lnTo>
                      <a:pt x="1646" y="607"/>
                    </a:lnTo>
                    <a:lnTo>
                      <a:pt x="1665" y="609"/>
                    </a:lnTo>
                    <a:lnTo>
                      <a:pt x="1677" y="609"/>
                    </a:lnTo>
                    <a:lnTo>
                      <a:pt x="1698" y="586"/>
                    </a:lnTo>
                    <a:lnTo>
                      <a:pt x="1726" y="548"/>
                    </a:lnTo>
                    <a:lnTo>
                      <a:pt x="1745" y="531"/>
                    </a:lnTo>
                    <a:lnTo>
                      <a:pt x="1750" y="524"/>
                    </a:lnTo>
                    <a:lnTo>
                      <a:pt x="1757" y="510"/>
                    </a:lnTo>
                    <a:lnTo>
                      <a:pt x="1767" y="498"/>
                    </a:lnTo>
                    <a:lnTo>
                      <a:pt x="1724" y="498"/>
                    </a:lnTo>
                    <a:lnTo>
                      <a:pt x="1641" y="498"/>
                    </a:lnTo>
                    <a:lnTo>
                      <a:pt x="1589" y="446"/>
                    </a:lnTo>
                    <a:lnTo>
                      <a:pt x="1575" y="437"/>
                    </a:lnTo>
                    <a:lnTo>
                      <a:pt x="1559" y="432"/>
                    </a:lnTo>
                    <a:lnTo>
                      <a:pt x="1549" y="423"/>
                    </a:lnTo>
                    <a:lnTo>
                      <a:pt x="1528" y="394"/>
                    </a:lnTo>
                    <a:lnTo>
                      <a:pt x="1476" y="390"/>
                    </a:lnTo>
                    <a:lnTo>
                      <a:pt x="1443" y="359"/>
                    </a:lnTo>
                    <a:lnTo>
                      <a:pt x="1415" y="328"/>
                    </a:lnTo>
                    <a:lnTo>
                      <a:pt x="1400" y="319"/>
                    </a:lnTo>
                    <a:lnTo>
                      <a:pt x="1398" y="328"/>
                    </a:lnTo>
                    <a:lnTo>
                      <a:pt x="1384" y="333"/>
                    </a:lnTo>
                    <a:lnTo>
                      <a:pt x="1360" y="324"/>
                    </a:lnTo>
                    <a:lnTo>
                      <a:pt x="1339" y="314"/>
                    </a:lnTo>
                    <a:lnTo>
                      <a:pt x="1330" y="307"/>
                    </a:lnTo>
                    <a:lnTo>
                      <a:pt x="1322" y="319"/>
                    </a:lnTo>
                    <a:lnTo>
                      <a:pt x="1301" y="321"/>
                    </a:lnTo>
                    <a:lnTo>
                      <a:pt x="1254" y="307"/>
                    </a:lnTo>
                    <a:lnTo>
                      <a:pt x="1235" y="300"/>
                    </a:lnTo>
                    <a:lnTo>
                      <a:pt x="1204" y="281"/>
                    </a:lnTo>
                    <a:lnTo>
                      <a:pt x="1188" y="276"/>
                    </a:lnTo>
                    <a:lnTo>
                      <a:pt x="1174" y="279"/>
                    </a:lnTo>
                    <a:lnTo>
                      <a:pt x="1162" y="290"/>
                    </a:lnTo>
                    <a:lnTo>
                      <a:pt x="1141" y="295"/>
                    </a:lnTo>
                    <a:lnTo>
                      <a:pt x="1126" y="288"/>
                    </a:lnTo>
                    <a:lnTo>
                      <a:pt x="1112" y="276"/>
                    </a:lnTo>
                    <a:lnTo>
                      <a:pt x="1096" y="253"/>
                    </a:lnTo>
                    <a:lnTo>
                      <a:pt x="1093" y="231"/>
                    </a:lnTo>
                    <a:lnTo>
                      <a:pt x="1093" y="231"/>
                    </a:lnTo>
                    <a:close/>
                    <a:moveTo>
                      <a:pt x="694" y="425"/>
                    </a:moveTo>
                    <a:lnTo>
                      <a:pt x="694" y="425"/>
                    </a:lnTo>
                    <a:lnTo>
                      <a:pt x="725" y="437"/>
                    </a:lnTo>
                    <a:lnTo>
                      <a:pt x="751" y="458"/>
                    </a:lnTo>
                    <a:lnTo>
                      <a:pt x="779" y="468"/>
                    </a:lnTo>
                    <a:lnTo>
                      <a:pt x="808" y="475"/>
                    </a:lnTo>
                    <a:lnTo>
                      <a:pt x="836" y="477"/>
                    </a:lnTo>
                    <a:lnTo>
                      <a:pt x="857" y="479"/>
                    </a:lnTo>
                    <a:lnTo>
                      <a:pt x="869" y="505"/>
                    </a:lnTo>
                    <a:lnTo>
                      <a:pt x="869" y="536"/>
                    </a:lnTo>
                    <a:lnTo>
                      <a:pt x="864" y="562"/>
                    </a:lnTo>
                    <a:lnTo>
                      <a:pt x="834" y="574"/>
                    </a:lnTo>
                    <a:lnTo>
                      <a:pt x="812" y="569"/>
                    </a:lnTo>
                    <a:lnTo>
                      <a:pt x="798" y="555"/>
                    </a:lnTo>
                    <a:lnTo>
                      <a:pt x="772" y="555"/>
                    </a:lnTo>
                    <a:lnTo>
                      <a:pt x="756" y="541"/>
                    </a:lnTo>
                    <a:lnTo>
                      <a:pt x="751" y="517"/>
                    </a:lnTo>
                    <a:lnTo>
                      <a:pt x="748" y="498"/>
                    </a:lnTo>
                    <a:lnTo>
                      <a:pt x="725" y="487"/>
                    </a:lnTo>
                    <a:lnTo>
                      <a:pt x="704" y="472"/>
                    </a:lnTo>
                    <a:lnTo>
                      <a:pt x="692" y="446"/>
                    </a:lnTo>
                    <a:lnTo>
                      <a:pt x="692" y="432"/>
                    </a:lnTo>
                    <a:lnTo>
                      <a:pt x="694" y="425"/>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8" name="Freeform 7"/>
              <p:cNvSpPr>
                <a:spLocks/>
              </p:cNvSpPr>
              <p:nvPr/>
            </p:nvSpPr>
            <p:spPr bwMode="gray">
              <a:xfrm>
                <a:off x="-6037263" y="76200"/>
                <a:ext cx="90487" cy="63500"/>
              </a:xfrm>
              <a:custGeom>
                <a:avLst/>
                <a:gdLst/>
                <a:ahLst/>
                <a:cxnLst>
                  <a:cxn ang="0">
                    <a:pos x="57" y="17"/>
                  </a:cxn>
                  <a:cxn ang="0">
                    <a:pos x="45" y="2"/>
                  </a:cxn>
                  <a:cxn ang="0">
                    <a:pos x="26" y="0"/>
                  </a:cxn>
                  <a:cxn ang="0">
                    <a:pos x="5" y="7"/>
                  </a:cxn>
                  <a:cxn ang="0">
                    <a:pos x="0" y="21"/>
                  </a:cxn>
                  <a:cxn ang="0">
                    <a:pos x="0" y="35"/>
                  </a:cxn>
                  <a:cxn ang="0">
                    <a:pos x="10" y="40"/>
                  </a:cxn>
                  <a:cxn ang="0">
                    <a:pos x="21" y="38"/>
                  </a:cxn>
                  <a:cxn ang="0">
                    <a:pos x="24" y="31"/>
                  </a:cxn>
                  <a:cxn ang="0">
                    <a:pos x="28" y="21"/>
                  </a:cxn>
                  <a:cxn ang="0">
                    <a:pos x="40" y="19"/>
                  </a:cxn>
                  <a:cxn ang="0">
                    <a:pos x="57" y="17"/>
                  </a:cxn>
                </a:cxnLst>
                <a:rect l="0" t="0" r="r" b="b"/>
                <a:pathLst>
                  <a:path w="57" h="40">
                    <a:moveTo>
                      <a:pt x="57" y="17"/>
                    </a:moveTo>
                    <a:lnTo>
                      <a:pt x="45" y="2"/>
                    </a:lnTo>
                    <a:lnTo>
                      <a:pt x="26" y="0"/>
                    </a:lnTo>
                    <a:lnTo>
                      <a:pt x="5" y="7"/>
                    </a:lnTo>
                    <a:lnTo>
                      <a:pt x="0" y="21"/>
                    </a:lnTo>
                    <a:lnTo>
                      <a:pt x="0" y="35"/>
                    </a:lnTo>
                    <a:lnTo>
                      <a:pt x="10" y="40"/>
                    </a:lnTo>
                    <a:lnTo>
                      <a:pt x="21" y="38"/>
                    </a:lnTo>
                    <a:lnTo>
                      <a:pt x="24" y="31"/>
                    </a:lnTo>
                    <a:lnTo>
                      <a:pt x="28" y="21"/>
                    </a:lnTo>
                    <a:lnTo>
                      <a:pt x="40" y="19"/>
                    </a:lnTo>
                    <a:lnTo>
                      <a:pt x="57" y="17"/>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9" name="Freeform 8"/>
              <p:cNvSpPr>
                <a:spLocks/>
              </p:cNvSpPr>
              <p:nvPr/>
            </p:nvSpPr>
            <p:spPr bwMode="gray">
              <a:xfrm>
                <a:off x="-6156325" y="98425"/>
                <a:ext cx="69850" cy="41275"/>
              </a:xfrm>
              <a:custGeom>
                <a:avLst/>
                <a:gdLst/>
                <a:ahLst/>
                <a:cxnLst>
                  <a:cxn ang="0">
                    <a:pos x="0" y="5"/>
                  </a:cxn>
                  <a:cxn ang="0">
                    <a:pos x="14" y="0"/>
                  </a:cxn>
                  <a:cxn ang="0">
                    <a:pos x="35" y="3"/>
                  </a:cxn>
                  <a:cxn ang="0">
                    <a:pos x="44" y="14"/>
                  </a:cxn>
                  <a:cxn ang="0">
                    <a:pos x="44" y="26"/>
                  </a:cxn>
                  <a:cxn ang="0">
                    <a:pos x="28" y="26"/>
                  </a:cxn>
                  <a:cxn ang="0">
                    <a:pos x="11" y="24"/>
                  </a:cxn>
                  <a:cxn ang="0">
                    <a:pos x="2" y="17"/>
                  </a:cxn>
                  <a:cxn ang="0">
                    <a:pos x="0" y="5"/>
                  </a:cxn>
                </a:cxnLst>
                <a:rect l="0" t="0" r="r" b="b"/>
                <a:pathLst>
                  <a:path w="44" h="26">
                    <a:moveTo>
                      <a:pt x="0" y="5"/>
                    </a:moveTo>
                    <a:lnTo>
                      <a:pt x="14" y="0"/>
                    </a:lnTo>
                    <a:lnTo>
                      <a:pt x="35" y="3"/>
                    </a:lnTo>
                    <a:lnTo>
                      <a:pt x="44" y="14"/>
                    </a:lnTo>
                    <a:lnTo>
                      <a:pt x="44" y="26"/>
                    </a:lnTo>
                    <a:lnTo>
                      <a:pt x="28" y="26"/>
                    </a:lnTo>
                    <a:lnTo>
                      <a:pt x="11" y="24"/>
                    </a:lnTo>
                    <a:lnTo>
                      <a:pt x="2" y="17"/>
                    </a:lnTo>
                    <a:lnTo>
                      <a:pt x="0" y="5"/>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10" name="Freeform 9"/>
              <p:cNvSpPr>
                <a:spLocks/>
              </p:cNvSpPr>
              <p:nvPr/>
            </p:nvSpPr>
            <p:spPr bwMode="gray">
              <a:xfrm>
                <a:off x="-6329363" y="117475"/>
                <a:ext cx="96837" cy="44450"/>
              </a:xfrm>
              <a:custGeom>
                <a:avLst/>
                <a:gdLst/>
                <a:ahLst/>
                <a:cxnLst>
                  <a:cxn ang="0">
                    <a:pos x="61" y="19"/>
                  </a:cxn>
                  <a:cxn ang="0">
                    <a:pos x="40" y="0"/>
                  </a:cxn>
                  <a:cxn ang="0">
                    <a:pos x="14" y="2"/>
                  </a:cxn>
                  <a:cxn ang="0">
                    <a:pos x="5" y="14"/>
                  </a:cxn>
                  <a:cxn ang="0">
                    <a:pos x="0" y="26"/>
                  </a:cxn>
                  <a:cxn ang="0">
                    <a:pos x="26" y="28"/>
                  </a:cxn>
                  <a:cxn ang="0">
                    <a:pos x="45" y="26"/>
                  </a:cxn>
                  <a:cxn ang="0">
                    <a:pos x="61" y="19"/>
                  </a:cxn>
                </a:cxnLst>
                <a:rect l="0" t="0" r="r" b="b"/>
                <a:pathLst>
                  <a:path w="61" h="28">
                    <a:moveTo>
                      <a:pt x="61" y="19"/>
                    </a:moveTo>
                    <a:lnTo>
                      <a:pt x="40" y="0"/>
                    </a:lnTo>
                    <a:lnTo>
                      <a:pt x="14" y="2"/>
                    </a:lnTo>
                    <a:lnTo>
                      <a:pt x="5" y="14"/>
                    </a:lnTo>
                    <a:lnTo>
                      <a:pt x="0" y="26"/>
                    </a:lnTo>
                    <a:lnTo>
                      <a:pt x="26" y="28"/>
                    </a:lnTo>
                    <a:lnTo>
                      <a:pt x="45" y="26"/>
                    </a:lnTo>
                    <a:lnTo>
                      <a:pt x="61" y="19"/>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11" name="Freeform 10"/>
              <p:cNvSpPr>
                <a:spLocks/>
              </p:cNvSpPr>
              <p:nvPr/>
            </p:nvSpPr>
            <p:spPr bwMode="gray">
              <a:xfrm>
                <a:off x="-6494463" y="158750"/>
                <a:ext cx="146050" cy="52388"/>
              </a:xfrm>
              <a:custGeom>
                <a:avLst/>
                <a:gdLst/>
                <a:ahLst/>
                <a:cxnLst>
                  <a:cxn ang="0">
                    <a:pos x="2" y="2"/>
                  </a:cxn>
                  <a:cxn ang="0">
                    <a:pos x="38" y="0"/>
                  </a:cxn>
                  <a:cxn ang="0">
                    <a:pos x="59" y="9"/>
                  </a:cxn>
                  <a:cxn ang="0">
                    <a:pos x="80" y="14"/>
                  </a:cxn>
                  <a:cxn ang="0">
                    <a:pos x="92" y="21"/>
                  </a:cxn>
                  <a:cxn ang="0">
                    <a:pos x="78" y="28"/>
                  </a:cxn>
                  <a:cxn ang="0">
                    <a:pos x="42" y="33"/>
                  </a:cxn>
                  <a:cxn ang="0">
                    <a:pos x="14" y="31"/>
                  </a:cxn>
                  <a:cxn ang="0">
                    <a:pos x="2" y="26"/>
                  </a:cxn>
                  <a:cxn ang="0">
                    <a:pos x="0" y="14"/>
                  </a:cxn>
                  <a:cxn ang="0">
                    <a:pos x="2" y="2"/>
                  </a:cxn>
                </a:cxnLst>
                <a:rect l="0" t="0" r="r" b="b"/>
                <a:pathLst>
                  <a:path w="92" h="33">
                    <a:moveTo>
                      <a:pt x="2" y="2"/>
                    </a:moveTo>
                    <a:lnTo>
                      <a:pt x="38" y="0"/>
                    </a:lnTo>
                    <a:lnTo>
                      <a:pt x="59" y="9"/>
                    </a:lnTo>
                    <a:lnTo>
                      <a:pt x="80" y="14"/>
                    </a:lnTo>
                    <a:lnTo>
                      <a:pt x="92" y="21"/>
                    </a:lnTo>
                    <a:lnTo>
                      <a:pt x="78" y="28"/>
                    </a:lnTo>
                    <a:lnTo>
                      <a:pt x="42" y="33"/>
                    </a:lnTo>
                    <a:lnTo>
                      <a:pt x="14" y="31"/>
                    </a:lnTo>
                    <a:lnTo>
                      <a:pt x="2" y="26"/>
                    </a:lnTo>
                    <a:lnTo>
                      <a:pt x="0" y="14"/>
                    </a:lnTo>
                    <a:lnTo>
                      <a:pt x="2" y="2"/>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12" name="Freeform 11"/>
              <p:cNvSpPr>
                <a:spLocks/>
              </p:cNvSpPr>
              <p:nvPr/>
            </p:nvSpPr>
            <p:spPr bwMode="gray">
              <a:xfrm>
                <a:off x="-6632575" y="233363"/>
                <a:ext cx="93662" cy="79375"/>
              </a:xfrm>
              <a:custGeom>
                <a:avLst/>
                <a:gdLst/>
                <a:ahLst/>
                <a:cxnLst>
                  <a:cxn ang="0">
                    <a:pos x="0" y="36"/>
                  </a:cxn>
                  <a:cxn ang="0">
                    <a:pos x="18" y="17"/>
                  </a:cxn>
                  <a:cxn ang="0">
                    <a:pos x="37" y="3"/>
                  </a:cxn>
                  <a:cxn ang="0">
                    <a:pos x="54" y="0"/>
                  </a:cxn>
                  <a:cxn ang="0">
                    <a:pos x="59" y="12"/>
                  </a:cxn>
                  <a:cxn ang="0">
                    <a:pos x="49" y="31"/>
                  </a:cxn>
                  <a:cxn ang="0">
                    <a:pos x="33" y="47"/>
                  </a:cxn>
                  <a:cxn ang="0">
                    <a:pos x="14" y="50"/>
                  </a:cxn>
                  <a:cxn ang="0">
                    <a:pos x="2" y="47"/>
                  </a:cxn>
                  <a:cxn ang="0">
                    <a:pos x="2" y="47"/>
                  </a:cxn>
                  <a:cxn ang="0">
                    <a:pos x="0" y="36"/>
                  </a:cxn>
                </a:cxnLst>
                <a:rect l="0" t="0" r="r" b="b"/>
                <a:pathLst>
                  <a:path w="59" h="50">
                    <a:moveTo>
                      <a:pt x="0" y="36"/>
                    </a:moveTo>
                    <a:lnTo>
                      <a:pt x="18" y="17"/>
                    </a:lnTo>
                    <a:lnTo>
                      <a:pt x="37" y="3"/>
                    </a:lnTo>
                    <a:lnTo>
                      <a:pt x="54" y="0"/>
                    </a:lnTo>
                    <a:lnTo>
                      <a:pt x="59" y="12"/>
                    </a:lnTo>
                    <a:lnTo>
                      <a:pt x="49" y="31"/>
                    </a:lnTo>
                    <a:lnTo>
                      <a:pt x="33" y="47"/>
                    </a:lnTo>
                    <a:lnTo>
                      <a:pt x="14" y="50"/>
                    </a:lnTo>
                    <a:lnTo>
                      <a:pt x="2" y="47"/>
                    </a:lnTo>
                    <a:lnTo>
                      <a:pt x="2" y="47"/>
                    </a:lnTo>
                    <a:lnTo>
                      <a:pt x="0" y="36"/>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13" name="Freeform 12"/>
              <p:cNvSpPr>
                <a:spLocks/>
              </p:cNvSpPr>
              <p:nvPr/>
            </p:nvSpPr>
            <p:spPr bwMode="gray">
              <a:xfrm>
                <a:off x="-5522913" y="698500"/>
                <a:ext cx="280987" cy="236538"/>
              </a:xfrm>
              <a:custGeom>
                <a:avLst/>
                <a:gdLst/>
                <a:ahLst/>
                <a:cxnLst>
                  <a:cxn ang="0">
                    <a:pos x="2" y="0"/>
                  </a:cxn>
                  <a:cxn ang="0">
                    <a:pos x="33" y="12"/>
                  </a:cxn>
                  <a:cxn ang="0">
                    <a:pos x="59" y="33"/>
                  </a:cxn>
                  <a:cxn ang="0">
                    <a:pos x="87" y="43"/>
                  </a:cxn>
                  <a:cxn ang="0">
                    <a:pos x="116" y="50"/>
                  </a:cxn>
                  <a:cxn ang="0">
                    <a:pos x="144" y="52"/>
                  </a:cxn>
                  <a:cxn ang="0">
                    <a:pos x="165" y="54"/>
                  </a:cxn>
                  <a:cxn ang="0">
                    <a:pos x="177" y="80"/>
                  </a:cxn>
                  <a:cxn ang="0">
                    <a:pos x="177" y="111"/>
                  </a:cxn>
                  <a:cxn ang="0">
                    <a:pos x="172" y="137"/>
                  </a:cxn>
                  <a:cxn ang="0">
                    <a:pos x="142" y="149"/>
                  </a:cxn>
                  <a:cxn ang="0">
                    <a:pos x="120" y="144"/>
                  </a:cxn>
                  <a:cxn ang="0">
                    <a:pos x="106" y="130"/>
                  </a:cxn>
                  <a:cxn ang="0">
                    <a:pos x="80" y="130"/>
                  </a:cxn>
                  <a:cxn ang="0">
                    <a:pos x="64" y="116"/>
                  </a:cxn>
                  <a:cxn ang="0">
                    <a:pos x="56" y="73"/>
                  </a:cxn>
                  <a:cxn ang="0">
                    <a:pos x="12" y="47"/>
                  </a:cxn>
                  <a:cxn ang="0">
                    <a:pos x="0" y="21"/>
                  </a:cxn>
                  <a:cxn ang="0">
                    <a:pos x="0" y="7"/>
                  </a:cxn>
                  <a:cxn ang="0">
                    <a:pos x="2" y="0"/>
                  </a:cxn>
                </a:cxnLst>
                <a:rect l="0" t="0" r="r" b="b"/>
                <a:pathLst>
                  <a:path w="177" h="149">
                    <a:moveTo>
                      <a:pt x="2" y="0"/>
                    </a:moveTo>
                    <a:lnTo>
                      <a:pt x="33" y="12"/>
                    </a:lnTo>
                    <a:lnTo>
                      <a:pt x="59" y="33"/>
                    </a:lnTo>
                    <a:lnTo>
                      <a:pt x="87" y="43"/>
                    </a:lnTo>
                    <a:lnTo>
                      <a:pt x="116" y="50"/>
                    </a:lnTo>
                    <a:lnTo>
                      <a:pt x="144" y="52"/>
                    </a:lnTo>
                    <a:lnTo>
                      <a:pt x="165" y="54"/>
                    </a:lnTo>
                    <a:lnTo>
                      <a:pt x="177" y="80"/>
                    </a:lnTo>
                    <a:lnTo>
                      <a:pt x="177" y="111"/>
                    </a:lnTo>
                    <a:lnTo>
                      <a:pt x="172" y="137"/>
                    </a:lnTo>
                    <a:lnTo>
                      <a:pt x="142" y="149"/>
                    </a:lnTo>
                    <a:lnTo>
                      <a:pt x="120" y="144"/>
                    </a:lnTo>
                    <a:lnTo>
                      <a:pt x="106" y="130"/>
                    </a:lnTo>
                    <a:lnTo>
                      <a:pt x="80" y="130"/>
                    </a:lnTo>
                    <a:lnTo>
                      <a:pt x="64" y="116"/>
                    </a:lnTo>
                    <a:lnTo>
                      <a:pt x="56" y="73"/>
                    </a:lnTo>
                    <a:lnTo>
                      <a:pt x="12" y="47"/>
                    </a:lnTo>
                    <a:lnTo>
                      <a:pt x="0" y="21"/>
                    </a:lnTo>
                    <a:lnTo>
                      <a:pt x="0" y="7"/>
                    </a:lnTo>
                    <a:lnTo>
                      <a:pt x="2" y="0"/>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14" name="Freeform 13"/>
              <p:cNvSpPr>
                <a:spLocks/>
              </p:cNvSpPr>
              <p:nvPr/>
            </p:nvSpPr>
            <p:spPr bwMode="gray">
              <a:xfrm>
                <a:off x="-5594350" y="192088"/>
                <a:ext cx="107950" cy="180975"/>
              </a:xfrm>
              <a:custGeom>
                <a:avLst/>
                <a:gdLst/>
                <a:ahLst/>
                <a:cxnLst>
                  <a:cxn ang="0">
                    <a:pos x="2" y="12"/>
                  </a:cxn>
                  <a:cxn ang="0">
                    <a:pos x="19" y="10"/>
                  </a:cxn>
                  <a:cxn ang="0">
                    <a:pos x="28" y="0"/>
                  </a:cxn>
                  <a:cxn ang="0">
                    <a:pos x="40" y="0"/>
                  </a:cxn>
                  <a:cxn ang="0">
                    <a:pos x="59" y="14"/>
                  </a:cxn>
                  <a:cxn ang="0">
                    <a:pos x="68" y="36"/>
                  </a:cxn>
                  <a:cxn ang="0">
                    <a:pos x="68" y="69"/>
                  </a:cxn>
                  <a:cxn ang="0">
                    <a:pos x="59" y="97"/>
                  </a:cxn>
                  <a:cxn ang="0">
                    <a:pos x="42" y="111"/>
                  </a:cxn>
                  <a:cxn ang="0">
                    <a:pos x="19" y="114"/>
                  </a:cxn>
                  <a:cxn ang="0">
                    <a:pos x="9" y="90"/>
                  </a:cxn>
                  <a:cxn ang="0">
                    <a:pos x="7" y="73"/>
                  </a:cxn>
                  <a:cxn ang="0">
                    <a:pos x="0" y="69"/>
                  </a:cxn>
                  <a:cxn ang="0">
                    <a:pos x="0" y="45"/>
                  </a:cxn>
                  <a:cxn ang="0">
                    <a:pos x="2" y="12"/>
                  </a:cxn>
                </a:cxnLst>
                <a:rect l="0" t="0" r="r" b="b"/>
                <a:pathLst>
                  <a:path w="68" h="114">
                    <a:moveTo>
                      <a:pt x="2" y="12"/>
                    </a:moveTo>
                    <a:lnTo>
                      <a:pt x="19" y="10"/>
                    </a:lnTo>
                    <a:lnTo>
                      <a:pt x="28" y="0"/>
                    </a:lnTo>
                    <a:lnTo>
                      <a:pt x="40" y="0"/>
                    </a:lnTo>
                    <a:lnTo>
                      <a:pt x="59" y="14"/>
                    </a:lnTo>
                    <a:lnTo>
                      <a:pt x="68" y="36"/>
                    </a:lnTo>
                    <a:lnTo>
                      <a:pt x="68" y="69"/>
                    </a:lnTo>
                    <a:lnTo>
                      <a:pt x="59" y="97"/>
                    </a:lnTo>
                    <a:lnTo>
                      <a:pt x="42" y="111"/>
                    </a:lnTo>
                    <a:lnTo>
                      <a:pt x="19" y="114"/>
                    </a:lnTo>
                    <a:lnTo>
                      <a:pt x="9" y="90"/>
                    </a:lnTo>
                    <a:lnTo>
                      <a:pt x="7" y="73"/>
                    </a:lnTo>
                    <a:lnTo>
                      <a:pt x="0" y="69"/>
                    </a:lnTo>
                    <a:lnTo>
                      <a:pt x="0" y="45"/>
                    </a:lnTo>
                    <a:lnTo>
                      <a:pt x="2" y="12"/>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15" name="Freeform 14"/>
              <p:cNvSpPr>
                <a:spLocks/>
              </p:cNvSpPr>
              <p:nvPr/>
            </p:nvSpPr>
            <p:spPr bwMode="gray">
              <a:xfrm>
                <a:off x="-5489575" y="-939800"/>
                <a:ext cx="1365250" cy="1492250"/>
              </a:xfrm>
              <a:custGeom>
                <a:avLst/>
                <a:gdLst/>
                <a:ahLst/>
                <a:cxnLst>
                  <a:cxn ang="0">
                    <a:pos x="73" y="12"/>
                  </a:cxn>
                  <a:cxn ang="0">
                    <a:pos x="111" y="28"/>
                  </a:cxn>
                  <a:cxn ang="0">
                    <a:pos x="170" y="23"/>
                  </a:cxn>
                  <a:cxn ang="0">
                    <a:pos x="272" y="73"/>
                  </a:cxn>
                  <a:cxn ang="0">
                    <a:pos x="326" y="31"/>
                  </a:cxn>
                  <a:cxn ang="0">
                    <a:pos x="373" y="52"/>
                  </a:cxn>
                  <a:cxn ang="0">
                    <a:pos x="454" y="66"/>
                  </a:cxn>
                  <a:cxn ang="0">
                    <a:pos x="480" y="132"/>
                  </a:cxn>
                  <a:cxn ang="0">
                    <a:pos x="437" y="175"/>
                  </a:cxn>
                  <a:cxn ang="0">
                    <a:pos x="373" y="220"/>
                  </a:cxn>
                  <a:cxn ang="0">
                    <a:pos x="439" y="220"/>
                  </a:cxn>
                  <a:cxn ang="0">
                    <a:pos x="461" y="184"/>
                  </a:cxn>
                  <a:cxn ang="0">
                    <a:pos x="468" y="250"/>
                  </a:cxn>
                  <a:cxn ang="0">
                    <a:pos x="430" y="290"/>
                  </a:cxn>
                  <a:cxn ang="0">
                    <a:pos x="534" y="288"/>
                  </a:cxn>
                  <a:cxn ang="0">
                    <a:pos x="558" y="340"/>
                  </a:cxn>
                  <a:cxn ang="0">
                    <a:pos x="588" y="314"/>
                  </a:cxn>
                  <a:cxn ang="0">
                    <a:pos x="628" y="300"/>
                  </a:cxn>
                  <a:cxn ang="0">
                    <a:pos x="695" y="352"/>
                  </a:cxn>
                  <a:cxn ang="0">
                    <a:pos x="772" y="345"/>
                  </a:cxn>
                  <a:cxn ang="0">
                    <a:pos x="827" y="319"/>
                  </a:cxn>
                  <a:cxn ang="0">
                    <a:pos x="860" y="390"/>
                  </a:cxn>
                  <a:cxn ang="0">
                    <a:pos x="817" y="465"/>
                  </a:cxn>
                  <a:cxn ang="0">
                    <a:pos x="777" y="503"/>
                  </a:cxn>
                  <a:cxn ang="0">
                    <a:pos x="742" y="482"/>
                  </a:cxn>
                  <a:cxn ang="0">
                    <a:pos x="744" y="531"/>
                  </a:cxn>
                  <a:cxn ang="0">
                    <a:pos x="770" y="574"/>
                  </a:cxn>
                  <a:cxn ang="0">
                    <a:pos x="728" y="619"/>
                  </a:cxn>
                  <a:cxn ang="0">
                    <a:pos x="735" y="680"/>
                  </a:cxn>
                  <a:cxn ang="0">
                    <a:pos x="768" y="751"/>
                  </a:cxn>
                  <a:cxn ang="0">
                    <a:pos x="754" y="805"/>
                  </a:cxn>
                  <a:cxn ang="0">
                    <a:pos x="704" y="820"/>
                  </a:cxn>
                  <a:cxn ang="0">
                    <a:pos x="680" y="869"/>
                  </a:cxn>
                  <a:cxn ang="0">
                    <a:pos x="685" y="935"/>
                  </a:cxn>
                  <a:cxn ang="0">
                    <a:pos x="626" y="921"/>
                  </a:cxn>
                  <a:cxn ang="0">
                    <a:pos x="562" y="860"/>
                  </a:cxn>
                  <a:cxn ang="0">
                    <a:pos x="532" y="791"/>
                  </a:cxn>
                  <a:cxn ang="0">
                    <a:pos x="529" y="730"/>
                  </a:cxn>
                  <a:cxn ang="0">
                    <a:pos x="470" y="756"/>
                  </a:cxn>
                  <a:cxn ang="0">
                    <a:pos x="409" y="791"/>
                  </a:cxn>
                  <a:cxn ang="0">
                    <a:pos x="380" y="838"/>
                  </a:cxn>
                  <a:cxn ang="0">
                    <a:pos x="309" y="756"/>
                  </a:cxn>
                  <a:cxn ang="0">
                    <a:pos x="260" y="657"/>
                  </a:cxn>
                  <a:cxn ang="0">
                    <a:pos x="151" y="607"/>
                  </a:cxn>
                  <a:cxn ang="0">
                    <a:pos x="87" y="550"/>
                  </a:cxn>
                  <a:cxn ang="0">
                    <a:pos x="104" y="520"/>
                  </a:cxn>
                  <a:cxn ang="0">
                    <a:pos x="142" y="515"/>
                  </a:cxn>
                  <a:cxn ang="0">
                    <a:pos x="128" y="468"/>
                  </a:cxn>
                  <a:cxn ang="0">
                    <a:pos x="73" y="456"/>
                  </a:cxn>
                  <a:cxn ang="0">
                    <a:pos x="64" y="416"/>
                  </a:cxn>
                  <a:cxn ang="0">
                    <a:pos x="104" y="378"/>
                  </a:cxn>
                  <a:cxn ang="0">
                    <a:pos x="83" y="359"/>
                  </a:cxn>
                  <a:cxn ang="0">
                    <a:pos x="21" y="387"/>
                  </a:cxn>
                  <a:cxn ang="0">
                    <a:pos x="0" y="364"/>
                  </a:cxn>
                  <a:cxn ang="0">
                    <a:pos x="43" y="321"/>
                  </a:cxn>
                  <a:cxn ang="0">
                    <a:pos x="99" y="307"/>
                  </a:cxn>
                  <a:cxn ang="0">
                    <a:pos x="130" y="264"/>
                  </a:cxn>
                  <a:cxn ang="0">
                    <a:pos x="113" y="208"/>
                  </a:cxn>
                  <a:cxn ang="0">
                    <a:pos x="59" y="179"/>
                  </a:cxn>
                  <a:cxn ang="0">
                    <a:pos x="47" y="142"/>
                  </a:cxn>
                  <a:cxn ang="0">
                    <a:pos x="54" y="87"/>
                  </a:cxn>
                  <a:cxn ang="0">
                    <a:pos x="19" y="52"/>
                  </a:cxn>
                  <a:cxn ang="0">
                    <a:pos x="17" y="0"/>
                  </a:cxn>
                </a:cxnLst>
                <a:rect l="0" t="0" r="r" b="b"/>
                <a:pathLst>
                  <a:path w="860" h="940">
                    <a:moveTo>
                      <a:pt x="17" y="0"/>
                    </a:moveTo>
                    <a:lnTo>
                      <a:pt x="50" y="2"/>
                    </a:lnTo>
                    <a:lnTo>
                      <a:pt x="73" y="12"/>
                    </a:lnTo>
                    <a:lnTo>
                      <a:pt x="92" y="26"/>
                    </a:lnTo>
                    <a:lnTo>
                      <a:pt x="102" y="33"/>
                    </a:lnTo>
                    <a:lnTo>
                      <a:pt x="111" y="28"/>
                    </a:lnTo>
                    <a:lnTo>
                      <a:pt x="123" y="16"/>
                    </a:lnTo>
                    <a:lnTo>
                      <a:pt x="154" y="16"/>
                    </a:lnTo>
                    <a:lnTo>
                      <a:pt x="170" y="23"/>
                    </a:lnTo>
                    <a:lnTo>
                      <a:pt x="210" y="45"/>
                    </a:lnTo>
                    <a:lnTo>
                      <a:pt x="243" y="64"/>
                    </a:lnTo>
                    <a:lnTo>
                      <a:pt x="272" y="73"/>
                    </a:lnTo>
                    <a:lnTo>
                      <a:pt x="298" y="71"/>
                    </a:lnTo>
                    <a:lnTo>
                      <a:pt x="305" y="42"/>
                    </a:lnTo>
                    <a:lnTo>
                      <a:pt x="326" y="31"/>
                    </a:lnTo>
                    <a:lnTo>
                      <a:pt x="350" y="31"/>
                    </a:lnTo>
                    <a:lnTo>
                      <a:pt x="361" y="45"/>
                    </a:lnTo>
                    <a:lnTo>
                      <a:pt x="373" y="52"/>
                    </a:lnTo>
                    <a:lnTo>
                      <a:pt x="402" y="59"/>
                    </a:lnTo>
                    <a:lnTo>
                      <a:pt x="435" y="64"/>
                    </a:lnTo>
                    <a:lnTo>
                      <a:pt x="454" y="66"/>
                    </a:lnTo>
                    <a:lnTo>
                      <a:pt x="475" y="85"/>
                    </a:lnTo>
                    <a:lnTo>
                      <a:pt x="480" y="113"/>
                    </a:lnTo>
                    <a:lnTo>
                      <a:pt x="480" y="132"/>
                    </a:lnTo>
                    <a:lnTo>
                      <a:pt x="470" y="149"/>
                    </a:lnTo>
                    <a:lnTo>
                      <a:pt x="454" y="163"/>
                    </a:lnTo>
                    <a:lnTo>
                      <a:pt x="437" y="175"/>
                    </a:lnTo>
                    <a:lnTo>
                      <a:pt x="418" y="191"/>
                    </a:lnTo>
                    <a:lnTo>
                      <a:pt x="402" y="205"/>
                    </a:lnTo>
                    <a:lnTo>
                      <a:pt x="373" y="220"/>
                    </a:lnTo>
                    <a:lnTo>
                      <a:pt x="392" y="231"/>
                    </a:lnTo>
                    <a:lnTo>
                      <a:pt x="423" y="231"/>
                    </a:lnTo>
                    <a:lnTo>
                      <a:pt x="439" y="220"/>
                    </a:lnTo>
                    <a:lnTo>
                      <a:pt x="444" y="201"/>
                    </a:lnTo>
                    <a:lnTo>
                      <a:pt x="447" y="186"/>
                    </a:lnTo>
                    <a:lnTo>
                      <a:pt x="461" y="184"/>
                    </a:lnTo>
                    <a:lnTo>
                      <a:pt x="468" y="196"/>
                    </a:lnTo>
                    <a:lnTo>
                      <a:pt x="468" y="222"/>
                    </a:lnTo>
                    <a:lnTo>
                      <a:pt x="468" y="250"/>
                    </a:lnTo>
                    <a:lnTo>
                      <a:pt x="461" y="267"/>
                    </a:lnTo>
                    <a:lnTo>
                      <a:pt x="444" y="279"/>
                    </a:lnTo>
                    <a:lnTo>
                      <a:pt x="430" y="290"/>
                    </a:lnTo>
                    <a:lnTo>
                      <a:pt x="475" y="286"/>
                    </a:lnTo>
                    <a:lnTo>
                      <a:pt x="510" y="286"/>
                    </a:lnTo>
                    <a:lnTo>
                      <a:pt x="534" y="288"/>
                    </a:lnTo>
                    <a:lnTo>
                      <a:pt x="546" y="302"/>
                    </a:lnTo>
                    <a:lnTo>
                      <a:pt x="550" y="323"/>
                    </a:lnTo>
                    <a:lnTo>
                      <a:pt x="558" y="340"/>
                    </a:lnTo>
                    <a:lnTo>
                      <a:pt x="569" y="345"/>
                    </a:lnTo>
                    <a:lnTo>
                      <a:pt x="579" y="333"/>
                    </a:lnTo>
                    <a:lnTo>
                      <a:pt x="588" y="314"/>
                    </a:lnTo>
                    <a:lnTo>
                      <a:pt x="588" y="298"/>
                    </a:lnTo>
                    <a:lnTo>
                      <a:pt x="609" y="290"/>
                    </a:lnTo>
                    <a:lnTo>
                      <a:pt x="628" y="300"/>
                    </a:lnTo>
                    <a:lnTo>
                      <a:pt x="652" y="319"/>
                    </a:lnTo>
                    <a:lnTo>
                      <a:pt x="678" y="345"/>
                    </a:lnTo>
                    <a:lnTo>
                      <a:pt x="695" y="352"/>
                    </a:lnTo>
                    <a:lnTo>
                      <a:pt x="725" y="361"/>
                    </a:lnTo>
                    <a:lnTo>
                      <a:pt x="756" y="359"/>
                    </a:lnTo>
                    <a:lnTo>
                      <a:pt x="772" y="345"/>
                    </a:lnTo>
                    <a:lnTo>
                      <a:pt x="782" y="328"/>
                    </a:lnTo>
                    <a:lnTo>
                      <a:pt x="803" y="316"/>
                    </a:lnTo>
                    <a:lnTo>
                      <a:pt x="827" y="319"/>
                    </a:lnTo>
                    <a:lnTo>
                      <a:pt x="848" y="335"/>
                    </a:lnTo>
                    <a:lnTo>
                      <a:pt x="855" y="357"/>
                    </a:lnTo>
                    <a:lnTo>
                      <a:pt x="860" y="390"/>
                    </a:lnTo>
                    <a:lnTo>
                      <a:pt x="850" y="416"/>
                    </a:lnTo>
                    <a:lnTo>
                      <a:pt x="829" y="449"/>
                    </a:lnTo>
                    <a:lnTo>
                      <a:pt x="817" y="465"/>
                    </a:lnTo>
                    <a:lnTo>
                      <a:pt x="817" y="484"/>
                    </a:lnTo>
                    <a:lnTo>
                      <a:pt x="796" y="501"/>
                    </a:lnTo>
                    <a:lnTo>
                      <a:pt x="777" y="503"/>
                    </a:lnTo>
                    <a:lnTo>
                      <a:pt x="763" y="501"/>
                    </a:lnTo>
                    <a:lnTo>
                      <a:pt x="751" y="484"/>
                    </a:lnTo>
                    <a:lnTo>
                      <a:pt x="742" y="482"/>
                    </a:lnTo>
                    <a:lnTo>
                      <a:pt x="735" y="489"/>
                    </a:lnTo>
                    <a:lnTo>
                      <a:pt x="737" y="510"/>
                    </a:lnTo>
                    <a:lnTo>
                      <a:pt x="744" y="531"/>
                    </a:lnTo>
                    <a:lnTo>
                      <a:pt x="756" y="538"/>
                    </a:lnTo>
                    <a:lnTo>
                      <a:pt x="770" y="555"/>
                    </a:lnTo>
                    <a:lnTo>
                      <a:pt x="770" y="574"/>
                    </a:lnTo>
                    <a:lnTo>
                      <a:pt x="761" y="593"/>
                    </a:lnTo>
                    <a:lnTo>
                      <a:pt x="749" y="607"/>
                    </a:lnTo>
                    <a:lnTo>
                      <a:pt x="728" y="619"/>
                    </a:lnTo>
                    <a:lnTo>
                      <a:pt x="721" y="638"/>
                    </a:lnTo>
                    <a:lnTo>
                      <a:pt x="721" y="664"/>
                    </a:lnTo>
                    <a:lnTo>
                      <a:pt x="735" y="680"/>
                    </a:lnTo>
                    <a:lnTo>
                      <a:pt x="751" y="704"/>
                    </a:lnTo>
                    <a:lnTo>
                      <a:pt x="763" y="727"/>
                    </a:lnTo>
                    <a:lnTo>
                      <a:pt x="768" y="751"/>
                    </a:lnTo>
                    <a:lnTo>
                      <a:pt x="772" y="772"/>
                    </a:lnTo>
                    <a:lnTo>
                      <a:pt x="770" y="794"/>
                    </a:lnTo>
                    <a:lnTo>
                      <a:pt x="754" y="805"/>
                    </a:lnTo>
                    <a:lnTo>
                      <a:pt x="735" y="815"/>
                    </a:lnTo>
                    <a:lnTo>
                      <a:pt x="716" y="812"/>
                    </a:lnTo>
                    <a:lnTo>
                      <a:pt x="704" y="820"/>
                    </a:lnTo>
                    <a:lnTo>
                      <a:pt x="690" y="829"/>
                    </a:lnTo>
                    <a:lnTo>
                      <a:pt x="680" y="846"/>
                    </a:lnTo>
                    <a:lnTo>
                      <a:pt x="680" y="869"/>
                    </a:lnTo>
                    <a:lnTo>
                      <a:pt x="683" y="902"/>
                    </a:lnTo>
                    <a:lnTo>
                      <a:pt x="687" y="926"/>
                    </a:lnTo>
                    <a:lnTo>
                      <a:pt x="685" y="935"/>
                    </a:lnTo>
                    <a:lnTo>
                      <a:pt x="671" y="940"/>
                    </a:lnTo>
                    <a:lnTo>
                      <a:pt x="647" y="931"/>
                    </a:lnTo>
                    <a:lnTo>
                      <a:pt x="626" y="921"/>
                    </a:lnTo>
                    <a:lnTo>
                      <a:pt x="607" y="907"/>
                    </a:lnTo>
                    <a:lnTo>
                      <a:pt x="584" y="883"/>
                    </a:lnTo>
                    <a:lnTo>
                      <a:pt x="562" y="860"/>
                    </a:lnTo>
                    <a:lnTo>
                      <a:pt x="541" y="846"/>
                    </a:lnTo>
                    <a:lnTo>
                      <a:pt x="532" y="817"/>
                    </a:lnTo>
                    <a:lnTo>
                      <a:pt x="532" y="791"/>
                    </a:lnTo>
                    <a:lnTo>
                      <a:pt x="532" y="770"/>
                    </a:lnTo>
                    <a:lnTo>
                      <a:pt x="532" y="753"/>
                    </a:lnTo>
                    <a:lnTo>
                      <a:pt x="529" y="730"/>
                    </a:lnTo>
                    <a:lnTo>
                      <a:pt x="522" y="720"/>
                    </a:lnTo>
                    <a:lnTo>
                      <a:pt x="498" y="730"/>
                    </a:lnTo>
                    <a:lnTo>
                      <a:pt x="470" y="756"/>
                    </a:lnTo>
                    <a:lnTo>
                      <a:pt x="447" y="770"/>
                    </a:lnTo>
                    <a:lnTo>
                      <a:pt x="421" y="779"/>
                    </a:lnTo>
                    <a:lnTo>
                      <a:pt x="409" y="791"/>
                    </a:lnTo>
                    <a:lnTo>
                      <a:pt x="395" y="803"/>
                    </a:lnTo>
                    <a:lnTo>
                      <a:pt x="387" y="820"/>
                    </a:lnTo>
                    <a:lnTo>
                      <a:pt x="380" y="838"/>
                    </a:lnTo>
                    <a:lnTo>
                      <a:pt x="354" y="812"/>
                    </a:lnTo>
                    <a:lnTo>
                      <a:pt x="331" y="789"/>
                    </a:lnTo>
                    <a:lnTo>
                      <a:pt x="309" y="756"/>
                    </a:lnTo>
                    <a:lnTo>
                      <a:pt x="300" y="723"/>
                    </a:lnTo>
                    <a:lnTo>
                      <a:pt x="279" y="685"/>
                    </a:lnTo>
                    <a:lnTo>
                      <a:pt x="260" y="657"/>
                    </a:lnTo>
                    <a:lnTo>
                      <a:pt x="229" y="635"/>
                    </a:lnTo>
                    <a:lnTo>
                      <a:pt x="187" y="616"/>
                    </a:lnTo>
                    <a:lnTo>
                      <a:pt x="151" y="607"/>
                    </a:lnTo>
                    <a:lnTo>
                      <a:pt x="121" y="590"/>
                    </a:lnTo>
                    <a:lnTo>
                      <a:pt x="99" y="572"/>
                    </a:lnTo>
                    <a:lnTo>
                      <a:pt x="87" y="550"/>
                    </a:lnTo>
                    <a:lnTo>
                      <a:pt x="85" y="527"/>
                    </a:lnTo>
                    <a:lnTo>
                      <a:pt x="90" y="517"/>
                    </a:lnTo>
                    <a:lnTo>
                      <a:pt x="104" y="520"/>
                    </a:lnTo>
                    <a:lnTo>
                      <a:pt x="121" y="522"/>
                    </a:lnTo>
                    <a:lnTo>
                      <a:pt x="132" y="522"/>
                    </a:lnTo>
                    <a:lnTo>
                      <a:pt x="142" y="515"/>
                    </a:lnTo>
                    <a:lnTo>
                      <a:pt x="144" y="498"/>
                    </a:lnTo>
                    <a:lnTo>
                      <a:pt x="142" y="484"/>
                    </a:lnTo>
                    <a:lnTo>
                      <a:pt x="128" y="468"/>
                    </a:lnTo>
                    <a:lnTo>
                      <a:pt x="118" y="458"/>
                    </a:lnTo>
                    <a:lnTo>
                      <a:pt x="92" y="458"/>
                    </a:lnTo>
                    <a:lnTo>
                      <a:pt x="73" y="456"/>
                    </a:lnTo>
                    <a:lnTo>
                      <a:pt x="61" y="449"/>
                    </a:lnTo>
                    <a:lnTo>
                      <a:pt x="59" y="432"/>
                    </a:lnTo>
                    <a:lnTo>
                      <a:pt x="64" y="416"/>
                    </a:lnTo>
                    <a:lnTo>
                      <a:pt x="76" y="399"/>
                    </a:lnTo>
                    <a:lnTo>
                      <a:pt x="92" y="390"/>
                    </a:lnTo>
                    <a:lnTo>
                      <a:pt x="104" y="378"/>
                    </a:lnTo>
                    <a:lnTo>
                      <a:pt x="104" y="366"/>
                    </a:lnTo>
                    <a:lnTo>
                      <a:pt x="99" y="359"/>
                    </a:lnTo>
                    <a:lnTo>
                      <a:pt x="83" y="359"/>
                    </a:lnTo>
                    <a:lnTo>
                      <a:pt x="61" y="364"/>
                    </a:lnTo>
                    <a:lnTo>
                      <a:pt x="43" y="378"/>
                    </a:lnTo>
                    <a:lnTo>
                      <a:pt x="21" y="387"/>
                    </a:lnTo>
                    <a:lnTo>
                      <a:pt x="12" y="387"/>
                    </a:lnTo>
                    <a:lnTo>
                      <a:pt x="0" y="375"/>
                    </a:lnTo>
                    <a:lnTo>
                      <a:pt x="0" y="364"/>
                    </a:lnTo>
                    <a:lnTo>
                      <a:pt x="5" y="349"/>
                    </a:lnTo>
                    <a:lnTo>
                      <a:pt x="17" y="338"/>
                    </a:lnTo>
                    <a:lnTo>
                      <a:pt x="43" y="321"/>
                    </a:lnTo>
                    <a:lnTo>
                      <a:pt x="64" y="316"/>
                    </a:lnTo>
                    <a:lnTo>
                      <a:pt x="83" y="309"/>
                    </a:lnTo>
                    <a:lnTo>
                      <a:pt x="99" y="307"/>
                    </a:lnTo>
                    <a:lnTo>
                      <a:pt x="113" y="298"/>
                    </a:lnTo>
                    <a:lnTo>
                      <a:pt x="125" y="286"/>
                    </a:lnTo>
                    <a:lnTo>
                      <a:pt x="130" y="264"/>
                    </a:lnTo>
                    <a:lnTo>
                      <a:pt x="130" y="243"/>
                    </a:lnTo>
                    <a:lnTo>
                      <a:pt x="128" y="222"/>
                    </a:lnTo>
                    <a:lnTo>
                      <a:pt x="113" y="208"/>
                    </a:lnTo>
                    <a:lnTo>
                      <a:pt x="99" y="198"/>
                    </a:lnTo>
                    <a:lnTo>
                      <a:pt x="78" y="189"/>
                    </a:lnTo>
                    <a:lnTo>
                      <a:pt x="59" y="179"/>
                    </a:lnTo>
                    <a:lnTo>
                      <a:pt x="54" y="175"/>
                    </a:lnTo>
                    <a:lnTo>
                      <a:pt x="47" y="158"/>
                    </a:lnTo>
                    <a:lnTo>
                      <a:pt x="47" y="142"/>
                    </a:lnTo>
                    <a:lnTo>
                      <a:pt x="52" y="125"/>
                    </a:lnTo>
                    <a:lnTo>
                      <a:pt x="52" y="106"/>
                    </a:lnTo>
                    <a:lnTo>
                      <a:pt x="54" y="87"/>
                    </a:lnTo>
                    <a:lnTo>
                      <a:pt x="45" y="68"/>
                    </a:lnTo>
                    <a:lnTo>
                      <a:pt x="28" y="57"/>
                    </a:lnTo>
                    <a:lnTo>
                      <a:pt x="19" y="52"/>
                    </a:lnTo>
                    <a:lnTo>
                      <a:pt x="7" y="31"/>
                    </a:lnTo>
                    <a:lnTo>
                      <a:pt x="7" y="12"/>
                    </a:lnTo>
                    <a:lnTo>
                      <a:pt x="17" y="0"/>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16" name="Freeform 15"/>
              <p:cNvSpPr>
                <a:spLocks/>
              </p:cNvSpPr>
              <p:nvPr/>
            </p:nvSpPr>
            <p:spPr bwMode="gray">
              <a:xfrm>
                <a:off x="-4176713" y="-557212"/>
                <a:ext cx="153987" cy="176213"/>
              </a:xfrm>
              <a:custGeom>
                <a:avLst/>
                <a:gdLst/>
                <a:ahLst/>
                <a:cxnLst>
                  <a:cxn ang="0">
                    <a:pos x="52" y="111"/>
                  </a:cxn>
                  <a:cxn ang="0">
                    <a:pos x="40" y="82"/>
                  </a:cxn>
                  <a:cxn ang="0">
                    <a:pos x="33" y="66"/>
                  </a:cxn>
                  <a:cxn ang="0">
                    <a:pos x="14" y="59"/>
                  </a:cxn>
                  <a:cxn ang="0">
                    <a:pos x="0" y="47"/>
                  </a:cxn>
                  <a:cxn ang="0">
                    <a:pos x="0" y="28"/>
                  </a:cxn>
                  <a:cxn ang="0">
                    <a:pos x="7" y="7"/>
                  </a:cxn>
                  <a:cxn ang="0">
                    <a:pos x="26" y="0"/>
                  </a:cxn>
                  <a:cxn ang="0">
                    <a:pos x="47" y="2"/>
                  </a:cxn>
                  <a:cxn ang="0">
                    <a:pos x="64" y="14"/>
                  </a:cxn>
                  <a:cxn ang="0">
                    <a:pos x="78" y="35"/>
                  </a:cxn>
                  <a:cxn ang="0">
                    <a:pos x="94" y="45"/>
                  </a:cxn>
                  <a:cxn ang="0">
                    <a:pos x="97" y="59"/>
                  </a:cxn>
                  <a:cxn ang="0">
                    <a:pos x="92" y="66"/>
                  </a:cxn>
                  <a:cxn ang="0">
                    <a:pos x="71" y="66"/>
                  </a:cxn>
                  <a:cxn ang="0">
                    <a:pos x="57" y="66"/>
                  </a:cxn>
                  <a:cxn ang="0">
                    <a:pos x="57" y="87"/>
                  </a:cxn>
                  <a:cxn ang="0">
                    <a:pos x="59" y="101"/>
                  </a:cxn>
                  <a:cxn ang="0">
                    <a:pos x="52" y="111"/>
                  </a:cxn>
                </a:cxnLst>
                <a:rect l="0" t="0" r="r" b="b"/>
                <a:pathLst>
                  <a:path w="97" h="111">
                    <a:moveTo>
                      <a:pt x="52" y="111"/>
                    </a:moveTo>
                    <a:lnTo>
                      <a:pt x="40" y="82"/>
                    </a:lnTo>
                    <a:lnTo>
                      <a:pt x="33" y="66"/>
                    </a:lnTo>
                    <a:lnTo>
                      <a:pt x="14" y="59"/>
                    </a:lnTo>
                    <a:lnTo>
                      <a:pt x="0" y="47"/>
                    </a:lnTo>
                    <a:lnTo>
                      <a:pt x="0" y="28"/>
                    </a:lnTo>
                    <a:lnTo>
                      <a:pt x="7" y="7"/>
                    </a:lnTo>
                    <a:lnTo>
                      <a:pt x="26" y="0"/>
                    </a:lnTo>
                    <a:lnTo>
                      <a:pt x="47" y="2"/>
                    </a:lnTo>
                    <a:lnTo>
                      <a:pt x="64" y="14"/>
                    </a:lnTo>
                    <a:lnTo>
                      <a:pt x="78" y="35"/>
                    </a:lnTo>
                    <a:lnTo>
                      <a:pt x="94" y="45"/>
                    </a:lnTo>
                    <a:lnTo>
                      <a:pt x="97" y="59"/>
                    </a:lnTo>
                    <a:lnTo>
                      <a:pt x="92" y="66"/>
                    </a:lnTo>
                    <a:lnTo>
                      <a:pt x="71" y="66"/>
                    </a:lnTo>
                    <a:lnTo>
                      <a:pt x="57" y="66"/>
                    </a:lnTo>
                    <a:lnTo>
                      <a:pt x="57" y="87"/>
                    </a:lnTo>
                    <a:lnTo>
                      <a:pt x="59" y="101"/>
                    </a:lnTo>
                    <a:lnTo>
                      <a:pt x="52" y="111"/>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17" name="Freeform 16"/>
              <p:cNvSpPr>
                <a:spLocks/>
              </p:cNvSpPr>
              <p:nvPr/>
            </p:nvSpPr>
            <p:spPr bwMode="gray">
              <a:xfrm>
                <a:off x="-5373688" y="-561975"/>
                <a:ext cx="52387" cy="60325"/>
              </a:xfrm>
              <a:custGeom>
                <a:avLst/>
                <a:gdLst/>
                <a:ahLst/>
                <a:cxnLst>
                  <a:cxn ang="0">
                    <a:pos x="3" y="0"/>
                  </a:cxn>
                  <a:cxn ang="0">
                    <a:pos x="33" y="0"/>
                  </a:cxn>
                  <a:cxn ang="0">
                    <a:pos x="33" y="17"/>
                  </a:cxn>
                  <a:cxn ang="0">
                    <a:pos x="26" y="29"/>
                  </a:cxn>
                  <a:cxn ang="0">
                    <a:pos x="19" y="38"/>
                  </a:cxn>
                  <a:cxn ang="0">
                    <a:pos x="5" y="29"/>
                  </a:cxn>
                  <a:cxn ang="0">
                    <a:pos x="0" y="12"/>
                  </a:cxn>
                  <a:cxn ang="0">
                    <a:pos x="3" y="0"/>
                  </a:cxn>
                </a:cxnLst>
                <a:rect l="0" t="0" r="r" b="b"/>
                <a:pathLst>
                  <a:path w="33" h="38">
                    <a:moveTo>
                      <a:pt x="3" y="0"/>
                    </a:moveTo>
                    <a:lnTo>
                      <a:pt x="33" y="0"/>
                    </a:lnTo>
                    <a:lnTo>
                      <a:pt x="33" y="17"/>
                    </a:lnTo>
                    <a:lnTo>
                      <a:pt x="26" y="29"/>
                    </a:lnTo>
                    <a:lnTo>
                      <a:pt x="19" y="38"/>
                    </a:lnTo>
                    <a:lnTo>
                      <a:pt x="5" y="29"/>
                    </a:lnTo>
                    <a:lnTo>
                      <a:pt x="0" y="12"/>
                    </a:lnTo>
                    <a:lnTo>
                      <a:pt x="3" y="0"/>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18" name="Freeform 17"/>
              <p:cNvSpPr>
                <a:spLocks/>
              </p:cNvSpPr>
              <p:nvPr/>
            </p:nvSpPr>
            <p:spPr bwMode="gray">
              <a:xfrm>
                <a:off x="-5508625" y="-614362"/>
                <a:ext cx="79375" cy="82550"/>
              </a:xfrm>
              <a:custGeom>
                <a:avLst/>
                <a:gdLst/>
                <a:ahLst/>
                <a:cxnLst>
                  <a:cxn ang="0">
                    <a:pos x="24" y="0"/>
                  </a:cxn>
                  <a:cxn ang="0">
                    <a:pos x="47" y="15"/>
                  </a:cxn>
                  <a:cxn ang="0">
                    <a:pos x="50" y="31"/>
                  </a:cxn>
                  <a:cxn ang="0">
                    <a:pos x="38" y="43"/>
                  </a:cxn>
                  <a:cxn ang="0">
                    <a:pos x="19" y="52"/>
                  </a:cxn>
                  <a:cxn ang="0">
                    <a:pos x="5" y="48"/>
                  </a:cxn>
                  <a:cxn ang="0">
                    <a:pos x="0" y="33"/>
                  </a:cxn>
                  <a:cxn ang="0">
                    <a:pos x="0" y="15"/>
                  </a:cxn>
                  <a:cxn ang="0">
                    <a:pos x="10" y="5"/>
                  </a:cxn>
                  <a:cxn ang="0">
                    <a:pos x="24" y="0"/>
                  </a:cxn>
                </a:cxnLst>
                <a:rect l="0" t="0" r="r" b="b"/>
                <a:pathLst>
                  <a:path w="50" h="52">
                    <a:moveTo>
                      <a:pt x="24" y="0"/>
                    </a:moveTo>
                    <a:lnTo>
                      <a:pt x="47" y="15"/>
                    </a:lnTo>
                    <a:lnTo>
                      <a:pt x="50" y="31"/>
                    </a:lnTo>
                    <a:lnTo>
                      <a:pt x="38" y="43"/>
                    </a:lnTo>
                    <a:lnTo>
                      <a:pt x="19" y="52"/>
                    </a:lnTo>
                    <a:lnTo>
                      <a:pt x="5" y="48"/>
                    </a:lnTo>
                    <a:lnTo>
                      <a:pt x="0" y="33"/>
                    </a:lnTo>
                    <a:lnTo>
                      <a:pt x="0" y="15"/>
                    </a:lnTo>
                    <a:lnTo>
                      <a:pt x="10" y="5"/>
                    </a:lnTo>
                    <a:lnTo>
                      <a:pt x="24" y="0"/>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19" name="Freeform 18"/>
              <p:cNvSpPr>
                <a:spLocks/>
              </p:cNvSpPr>
              <p:nvPr/>
            </p:nvSpPr>
            <p:spPr bwMode="gray">
              <a:xfrm>
                <a:off x="-5586413" y="-779462"/>
                <a:ext cx="58737" cy="71438"/>
              </a:xfrm>
              <a:custGeom>
                <a:avLst/>
                <a:gdLst/>
                <a:ahLst/>
                <a:cxnLst>
                  <a:cxn ang="0">
                    <a:pos x="30" y="0"/>
                  </a:cxn>
                  <a:cxn ang="0">
                    <a:pos x="11" y="8"/>
                  </a:cxn>
                  <a:cxn ang="0">
                    <a:pos x="0" y="19"/>
                  </a:cxn>
                  <a:cxn ang="0">
                    <a:pos x="0" y="31"/>
                  </a:cxn>
                  <a:cxn ang="0">
                    <a:pos x="11" y="38"/>
                  </a:cxn>
                  <a:cxn ang="0">
                    <a:pos x="37" y="45"/>
                  </a:cxn>
                  <a:cxn ang="0">
                    <a:pos x="37" y="22"/>
                  </a:cxn>
                  <a:cxn ang="0">
                    <a:pos x="35" y="3"/>
                  </a:cxn>
                  <a:cxn ang="0">
                    <a:pos x="30" y="0"/>
                  </a:cxn>
                </a:cxnLst>
                <a:rect l="0" t="0" r="r" b="b"/>
                <a:pathLst>
                  <a:path w="37" h="45">
                    <a:moveTo>
                      <a:pt x="30" y="0"/>
                    </a:moveTo>
                    <a:lnTo>
                      <a:pt x="11" y="8"/>
                    </a:lnTo>
                    <a:lnTo>
                      <a:pt x="0" y="19"/>
                    </a:lnTo>
                    <a:lnTo>
                      <a:pt x="0" y="31"/>
                    </a:lnTo>
                    <a:lnTo>
                      <a:pt x="11" y="38"/>
                    </a:lnTo>
                    <a:lnTo>
                      <a:pt x="37" y="45"/>
                    </a:lnTo>
                    <a:lnTo>
                      <a:pt x="37" y="22"/>
                    </a:lnTo>
                    <a:lnTo>
                      <a:pt x="35" y="3"/>
                    </a:lnTo>
                    <a:lnTo>
                      <a:pt x="30" y="0"/>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20" name="Freeform 19"/>
              <p:cNvSpPr>
                <a:spLocks/>
              </p:cNvSpPr>
              <p:nvPr/>
            </p:nvSpPr>
            <p:spPr bwMode="gray">
              <a:xfrm>
                <a:off x="-5662613" y="-752475"/>
                <a:ext cx="101600" cy="115888"/>
              </a:xfrm>
              <a:custGeom>
                <a:avLst/>
                <a:gdLst/>
                <a:ahLst/>
                <a:cxnLst>
                  <a:cxn ang="0">
                    <a:pos x="15" y="0"/>
                  </a:cxn>
                  <a:cxn ang="0">
                    <a:pos x="29" y="21"/>
                  </a:cxn>
                  <a:cxn ang="0">
                    <a:pos x="57" y="45"/>
                  </a:cxn>
                  <a:cxn ang="0">
                    <a:pos x="64" y="57"/>
                  </a:cxn>
                  <a:cxn ang="0">
                    <a:pos x="57" y="68"/>
                  </a:cxn>
                  <a:cxn ang="0">
                    <a:pos x="31" y="73"/>
                  </a:cxn>
                  <a:cxn ang="0">
                    <a:pos x="5" y="71"/>
                  </a:cxn>
                  <a:cxn ang="0">
                    <a:pos x="0" y="52"/>
                  </a:cxn>
                  <a:cxn ang="0">
                    <a:pos x="0" y="26"/>
                  </a:cxn>
                  <a:cxn ang="0">
                    <a:pos x="5" y="9"/>
                  </a:cxn>
                  <a:cxn ang="0">
                    <a:pos x="15" y="0"/>
                  </a:cxn>
                </a:cxnLst>
                <a:rect l="0" t="0" r="r" b="b"/>
                <a:pathLst>
                  <a:path w="64" h="73">
                    <a:moveTo>
                      <a:pt x="15" y="0"/>
                    </a:moveTo>
                    <a:lnTo>
                      <a:pt x="29" y="21"/>
                    </a:lnTo>
                    <a:lnTo>
                      <a:pt x="57" y="45"/>
                    </a:lnTo>
                    <a:lnTo>
                      <a:pt x="64" y="57"/>
                    </a:lnTo>
                    <a:lnTo>
                      <a:pt x="57" y="68"/>
                    </a:lnTo>
                    <a:lnTo>
                      <a:pt x="31" y="73"/>
                    </a:lnTo>
                    <a:lnTo>
                      <a:pt x="5" y="71"/>
                    </a:lnTo>
                    <a:lnTo>
                      <a:pt x="0" y="52"/>
                    </a:lnTo>
                    <a:lnTo>
                      <a:pt x="0" y="26"/>
                    </a:lnTo>
                    <a:lnTo>
                      <a:pt x="5" y="9"/>
                    </a:lnTo>
                    <a:lnTo>
                      <a:pt x="15" y="0"/>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21" name="Freeform 20"/>
              <p:cNvSpPr>
                <a:spLocks/>
              </p:cNvSpPr>
              <p:nvPr/>
            </p:nvSpPr>
            <p:spPr bwMode="gray">
              <a:xfrm>
                <a:off x="-5680075" y="-1184275"/>
                <a:ext cx="201612" cy="371475"/>
              </a:xfrm>
              <a:custGeom>
                <a:avLst/>
                <a:gdLst/>
                <a:ahLst/>
                <a:cxnLst>
                  <a:cxn ang="0">
                    <a:pos x="106" y="0"/>
                  </a:cxn>
                  <a:cxn ang="0">
                    <a:pos x="127" y="17"/>
                  </a:cxn>
                  <a:cxn ang="0">
                    <a:pos x="118" y="36"/>
                  </a:cxn>
                  <a:cxn ang="0">
                    <a:pos x="99" y="52"/>
                  </a:cxn>
                  <a:cxn ang="0">
                    <a:pos x="87" y="74"/>
                  </a:cxn>
                  <a:cxn ang="0">
                    <a:pos x="92" y="102"/>
                  </a:cxn>
                  <a:cxn ang="0">
                    <a:pos x="99" y="123"/>
                  </a:cxn>
                  <a:cxn ang="0">
                    <a:pos x="94" y="135"/>
                  </a:cxn>
                  <a:cxn ang="0">
                    <a:pos x="73" y="128"/>
                  </a:cxn>
                  <a:cxn ang="0">
                    <a:pos x="59" y="109"/>
                  </a:cxn>
                  <a:cxn ang="0">
                    <a:pos x="35" y="144"/>
                  </a:cxn>
                  <a:cxn ang="0">
                    <a:pos x="33" y="189"/>
                  </a:cxn>
                  <a:cxn ang="0">
                    <a:pos x="26" y="225"/>
                  </a:cxn>
                  <a:cxn ang="0">
                    <a:pos x="11" y="234"/>
                  </a:cxn>
                  <a:cxn ang="0">
                    <a:pos x="0" y="227"/>
                  </a:cxn>
                  <a:cxn ang="0">
                    <a:pos x="4" y="177"/>
                  </a:cxn>
                  <a:cxn ang="0">
                    <a:pos x="14" y="130"/>
                  </a:cxn>
                  <a:cxn ang="0">
                    <a:pos x="35" y="95"/>
                  </a:cxn>
                  <a:cxn ang="0">
                    <a:pos x="66" y="62"/>
                  </a:cxn>
                  <a:cxn ang="0">
                    <a:pos x="85" y="43"/>
                  </a:cxn>
                  <a:cxn ang="0">
                    <a:pos x="92" y="17"/>
                  </a:cxn>
                  <a:cxn ang="0">
                    <a:pos x="96" y="5"/>
                  </a:cxn>
                  <a:cxn ang="0">
                    <a:pos x="106" y="0"/>
                  </a:cxn>
                </a:cxnLst>
                <a:rect l="0" t="0" r="r" b="b"/>
                <a:pathLst>
                  <a:path w="127" h="234">
                    <a:moveTo>
                      <a:pt x="106" y="0"/>
                    </a:moveTo>
                    <a:lnTo>
                      <a:pt x="127" y="17"/>
                    </a:lnTo>
                    <a:lnTo>
                      <a:pt x="118" y="36"/>
                    </a:lnTo>
                    <a:lnTo>
                      <a:pt x="99" y="52"/>
                    </a:lnTo>
                    <a:lnTo>
                      <a:pt x="87" y="74"/>
                    </a:lnTo>
                    <a:lnTo>
                      <a:pt x="92" y="102"/>
                    </a:lnTo>
                    <a:lnTo>
                      <a:pt x="99" y="123"/>
                    </a:lnTo>
                    <a:lnTo>
                      <a:pt x="94" y="135"/>
                    </a:lnTo>
                    <a:lnTo>
                      <a:pt x="73" y="128"/>
                    </a:lnTo>
                    <a:lnTo>
                      <a:pt x="59" y="109"/>
                    </a:lnTo>
                    <a:lnTo>
                      <a:pt x="35" y="144"/>
                    </a:lnTo>
                    <a:lnTo>
                      <a:pt x="33" y="189"/>
                    </a:lnTo>
                    <a:lnTo>
                      <a:pt x="26" y="225"/>
                    </a:lnTo>
                    <a:lnTo>
                      <a:pt x="11" y="234"/>
                    </a:lnTo>
                    <a:lnTo>
                      <a:pt x="0" y="227"/>
                    </a:lnTo>
                    <a:lnTo>
                      <a:pt x="4" y="177"/>
                    </a:lnTo>
                    <a:lnTo>
                      <a:pt x="14" y="130"/>
                    </a:lnTo>
                    <a:lnTo>
                      <a:pt x="35" y="95"/>
                    </a:lnTo>
                    <a:lnTo>
                      <a:pt x="66" y="62"/>
                    </a:lnTo>
                    <a:lnTo>
                      <a:pt x="85" y="43"/>
                    </a:lnTo>
                    <a:lnTo>
                      <a:pt x="92" y="17"/>
                    </a:lnTo>
                    <a:lnTo>
                      <a:pt x="96" y="5"/>
                    </a:lnTo>
                    <a:lnTo>
                      <a:pt x="106" y="0"/>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22" name="Freeform 21"/>
              <p:cNvSpPr>
                <a:spLocks/>
              </p:cNvSpPr>
              <p:nvPr/>
            </p:nvSpPr>
            <p:spPr bwMode="gray">
              <a:xfrm>
                <a:off x="-4410075" y="-520700"/>
                <a:ext cx="2135187" cy="1335088"/>
              </a:xfrm>
              <a:custGeom>
                <a:avLst/>
                <a:gdLst/>
                <a:ahLst/>
                <a:cxnLst>
                  <a:cxn ang="0">
                    <a:pos x="102" y="357"/>
                  </a:cxn>
                  <a:cxn ang="0">
                    <a:pos x="185" y="277"/>
                  </a:cxn>
                  <a:cxn ang="0">
                    <a:pos x="201" y="315"/>
                  </a:cxn>
                  <a:cxn ang="0">
                    <a:pos x="237" y="338"/>
                  </a:cxn>
                  <a:cxn ang="0">
                    <a:pos x="284" y="343"/>
                  </a:cxn>
                  <a:cxn ang="0">
                    <a:pos x="331" y="326"/>
                  </a:cxn>
                  <a:cxn ang="0">
                    <a:pos x="350" y="258"/>
                  </a:cxn>
                  <a:cxn ang="0">
                    <a:pos x="355" y="225"/>
                  </a:cxn>
                  <a:cxn ang="0">
                    <a:pos x="454" y="215"/>
                  </a:cxn>
                  <a:cxn ang="0">
                    <a:pos x="504" y="178"/>
                  </a:cxn>
                  <a:cxn ang="0">
                    <a:pos x="525" y="211"/>
                  </a:cxn>
                  <a:cxn ang="0">
                    <a:pos x="551" y="154"/>
                  </a:cxn>
                  <a:cxn ang="0">
                    <a:pos x="626" y="59"/>
                  </a:cxn>
                  <a:cxn ang="0">
                    <a:pos x="669" y="5"/>
                  </a:cxn>
                  <a:cxn ang="0">
                    <a:pos x="747" y="19"/>
                  </a:cxn>
                  <a:cxn ang="0">
                    <a:pos x="711" y="36"/>
                  </a:cxn>
                  <a:cxn ang="0">
                    <a:pos x="650" y="97"/>
                  </a:cxn>
                  <a:cxn ang="0">
                    <a:pos x="667" y="133"/>
                  </a:cxn>
                  <a:cxn ang="0">
                    <a:pos x="702" y="64"/>
                  </a:cxn>
                  <a:cxn ang="0">
                    <a:pos x="756" y="74"/>
                  </a:cxn>
                  <a:cxn ang="0">
                    <a:pos x="799" y="52"/>
                  </a:cxn>
                  <a:cxn ang="0">
                    <a:pos x="839" y="45"/>
                  </a:cxn>
                  <a:cxn ang="0">
                    <a:pos x="863" y="88"/>
                  </a:cxn>
                  <a:cxn ang="0">
                    <a:pos x="877" y="142"/>
                  </a:cxn>
                  <a:cxn ang="0">
                    <a:pos x="962" y="168"/>
                  </a:cxn>
                  <a:cxn ang="0">
                    <a:pos x="1007" y="204"/>
                  </a:cxn>
                  <a:cxn ang="0">
                    <a:pos x="1087" y="185"/>
                  </a:cxn>
                  <a:cxn ang="0">
                    <a:pos x="1106" y="232"/>
                  </a:cxn>
                  <a:cxn ang="0">
                    <a:pos x="1118" y="284"/>
                  </a:cxn>
                  <a:cxn ang="0">
                    <a:pos x="1127" y="333"/>
                  </a:cxn>
                  <a:cxn ang="0">
                    <a:pos x="1153" y="400"/>
                  </a:cxn>
                  <a:cxn ang="0">
                    <a:pos x="1215" y="421"/>
                  </a:cxn>
                  <a:cxn ang="0">
                    <a:pos x="1278" y="428"/>
                  </a:cxn>
                  <a:cxn ang="0">
                    <a:pos x="1307" y="501"/>
                  </a:cxn>
                  <a:cxn ang="0">
                    <a:pos x="1323" y="600"/>
                  </a:cxn>
                  <a:cxn ang="0">
                    <a:pos x="1337" y="667"/>
                  </a:cxn>
                  <a:cxn ang="0">
                    <a:pos x="1274" y="714"/>
                  </a:cxn>
                  <a:cxn ang="0">
                    <a:pos x="1222" y="631"/>
                  </a:cxn>
                  <a:cxn ang="0">
                    <a:pos x="1167" y="615"/>
                  </a:cxn>
                  <a:cxn ang="0">
                    <a:pos x="1089" y="624"/>
                  </a:cxn>
                  <a:cxn ang="0">
                    <a:pos x="1035" y="683"/>
                  </a:cxn>
                  <a:cxn ang="0">
                    <a:pos x="969" y="737"/>
                  </a:cxn>
                  <a:cxn ang="0">
                    <a:pos x="889" y="752"/>
                  </a:cxn>
                  <a:cxn ang="0">
                    <a:pos x="827" y="766"/>
                  </a:cxn>
                  <a:cxn ang="0">
                    <a:pos x="735" y="730"/>
                  </a:cxn>
                  <a:cxn ang="0">
                    <a:pos x="622" y="721"/>
                  </a:cxn>
                  <a:cxn ang="0">
                    <a:pos x="530" y="667"/>
                  </a:cxn>
                  <a:cxn ang="0">
                    <a:pos x="461" y="719"/>
                  </a:cxn>
                  <a:cxn ang="0">
                    <a:pos x="374" y="792"/>
                  </a:cxn>
                  <a:cxn ang="0">
                    <a:pos x="374" y="841"/>
                  </a:cxn>
                  <a:cxn ang="0">
                    <a:pos x="248" y="841"/>
                  </a:cxn>
                  <a:cxn ang="0">
                    <a:pos x="156" y="766"/>
                  </a:cxn>
                  <a:cxn ang="0">
                    <a:pos x="83" y="733"/>
                  </a:cxn>
                  <a:cxn ang="0">
                    <a:pos x="22" y="671"/>
                  </a:cxn>
                  <a:cxn ang="0">
                    <a:pos x="24" y="556"/>
                  </a:cxn>
                  <a:cxn ang="0">
                    <a:pos x="90" y="530"/>
                  </a:cxn>
                  <a:cxn ang="0">
                    <a:pos x="71" y="440"/>
                  </a:cxn>
                </a:cxnLst>
                <a:rect l="0" t="0" r="r" b="b"/>
                <a:pathLst>
                  <a:path w="1345" h="841">
                    <a:moveTo>
                      <a:pt x="55" y="416"/>
                    </a:moveTo>
                    <a:lnTo>
                      <a:pt x="62" y="393"/>
                    </a:lnTo>
                    <a:lnTo>
                      <a:pt x="81" y="378"/>
                    </a:lnTo>
                    <a:lnTo>
                      <a:pt x="102" y="357"/>
                    </a:lnTo>
                    <a:lnTo>
                      <a:pt x="128" y="331"/>
                    </a:lnTo>
                    <a:lnTo>
                      <a:pt x="147" y="308"/>
                    </a:lnTo>
                    <a:lnTo>
                      <a:pt x="166" y="286"/>
                    </a:lnTo>
                    <a:lnTo>
                      <a:pt x="185" y="277"/>
                    </a:lnTo>
                    <a:lnTo>
                      <a:pt x="196" y="277"/>
                    </a:lnTo>
                    <a:lnTo>
                      <a:pt x="201" y="284"/>
                    </a:lnTo>
                    <a:lnTo>
                      <a:pt x="201" y="298"/>
                    </a:lnTo>
                    <a:lnTo>
                      <a:pt x="201" y="315"/>
                    </a:lnTo>
                    <a:lnTo>
                      <a:pt x="201" y="329"/>
                    </a:lnTo>
                    <a:lnTo>
                      <a:pt x="206" y="338"/>
                    </a:lnTo>
                    <a:lnTo>
                      <a:pt x="218" y="341"/>
                    </a:lnTo>
                    <a:lnTo>
                      <a:pt x="237" y="338"/>
                    </a:lnTo>
                    <a:lnTo>
                      <a:pt x="251" y="329"/>
                    </a:lnTo>
                    <a:lnTo>
                      <a:pt x="265" y="324"/>
                    </a:lnTo>
                    <a:lnTo>
                      <a:pt x="274" y="329"/>
                    </a:lnTo>
                    <a:lnTo>
                      <a:pt x="284" y="343"/>
                    </a:lnTo>
                    <a:lnTo>
                      <a:pt x="296" y="355"/>
                    </a:lnTo>
                    <a:lnTo>
                      <a:pt x="307" y="355"/>
                    </a:lnTo>
                    <a:lnTo>
                      <a:pt x="322" y="350"/>
                    </a:lnTo>
                    <a:lnTo>
                      <a:pt x="331" y="326"/>
                    </a:lnTo>
                    <a:lnTo>
                      <a:pt x="341" y="308"/>
                    </a:lnTo>
                    <a:lnTo>
                      <a:pt x="350" y="284"/>
                    </a:lnTo>
                    <a:lnTo>
                      <a:pt x="350" y="272"/>
                    </a:lnTo>
                    <a:lnTo>
                      <a:pt x="350" y="258"/>
                    </a:lnTo>
                    <a:lnTo>
                      <a:pt x="341" y="248"/>
                    </a:lnTo>
                    <a:lnTo>
                      <a:pt x="336" y="244"/>
                    </a:lnTo>
                    <a:lnTo>
                      <a:pt x="341" y="232"/>
                    </a:lnTo>
                    <a:lnTo>
                      <a:pt x="355" y="225"/>
                    </a:lnTo>
                    <a:lnTo>
                      <a:pt x="369" y="215"/>
                    </a:lnTo>
                    <a:lnTo>
                      <a:pt x="400" y="213"/>
                    </a:lnTo>
                    <a:lnTo>
                      <a:pt x="437" y="213"/>
                    </a:lnTo>
                    <a:lnTo>
                      <a:pt x="454" y="215"/>
                    </a:lnTo>
                    <a:lnTo>
                      <a:pt x="473" y="208"/>
                    </a:lnTo>
                    <a:lnTo>
                      <a:pt x="480" y="187"/>
                    </a:lnTo>
                    <a:lnTo>
                      <a:pt x="489" y="175"/>
                    </a:lnTo>
                    <a:lnTo>
                      <a:pt x="504" y="178"/>
                    </a:lnTo>
                    <a:lnTo>
                      <a:pt x="506" y="189"/>
                    </a:lnTo>
                    <a:lnTo>
                      <a:pt x="508" y="199"/>
                    </a:lnTo>
                    <a:lnTo>
                      <a:pt x="513" y="208"/>
                    </a:lnTo>
                    <a:lnTo>
                      <a:pt x="525" y="211"/>
                    </a:lnTo>
                    <a:lnTo>
                      <a:pt x="534" y="208"/>
                    </a:lnTo>
                    <a:lnTo>
                      <a:pt x="537" y="196"/>
                    </a:lnTo>
                    <a:lnTo>
                      <a:pt x="539" y="178"/>
                    </a:lnTo>
                    <a:lnTo>
                      <a:pt x="551" y="154"/>
                    </a:lnTo>
                    <a:lnTo>
                      <a:pt x="581" y="126"/>
                    </a:lnTo>
                    <a:lnTo>
                      <a:pt x="619" y="85"/>
                    </a:lnTo>
                    <a:lnTo>
                      <a:pt x="624" y="76"/>
                    </a:lnTo>
                    <a:lnTo>
                      <a:pt x="626" y="59"/>
                    </a:lnTo>
                    <a:lnTo>
                      <a:pt x="626" y="41"/>
                    </a:lnTo>
                    <a:lnTo>
                      <a:pt x="636" y="26"/>
                    </a:lnTo>
                    <a:lnTo>
                      <a:pt x="650" y="15"/>
                    </a:lnTo>
                    <a:lnTo>
                      <a:pt x="669" y="5"/>
                    </a:lnTo>
                    <a:lnTo>
                      <a:pt x="688" y="0"/>
                    </a:lnTo>
                    <a:lnTo>
                      <a:pt x="709" y="10"/>
                    </a:lnTo>
                    <a:lnTo>
                      <a:pt x="728" y="17"/>
                    </a:lnTo>
                    <a:lnTo>
                      <a:pt x="747" y="19"/>
                    </a:lnTo>
                    <a:lnTo>
                      <a:pt x="770" y="19"/>
                    </a:lnTo>
                    <a:lnTo>
                      <a:pt x="773" y="26"/>
                    </a:lnTo>
                    <a:lnTo>
                      <a:pt x="742" y="34"/>
                    </a:lnTo>
                    <a:lnTo>
                      <a:pt x="711" y="36"/>
                    </a:lnTo>
                    <a:lnTo>
                      <a:pt x="690" y="48"/>
                    </a:lnTo>
                    <a:lnTo>
                      <a:pt x="676" y="59"/>
                    </a:lnTo>
                    <a:lnTo>
                      <a:pt x="659" y="76"/>
                    </a:lnTo>
                    <a:lnTo>
                      <a:pt x="650" y="97"/>
                    </a:lnTo>
                    <a:lnTo>
                      <a:pt x="650" y="114"/>
                    </a:lnTo>
                    <a:lnTo>
                      <a:pt x="645" y="133"/>
                    </a:lnTo>
                    <a:lnTo>
                      <a:pt x="655" y="142"/>
                    </a:lnTo>
                    <a:lnTo>
                      <a:pt x="667" y="133"/>
                    </a:lnTo>
                    <a:lnTo>
                      <a:pt x="669" y="116"/>
                    </a:lnTo>
                    <a:lnTo>
                      <a:pt x="676" y="100"/>
                    </a:lnTo>
                    <a:lnTo>
                      <a:pt x="690" y="76"/>
                    </a:lnTo>
                    <a:lnTo>
                      <a:pt x="702" y="64"/>
                    </a:lnTo>
                    <a:lnTo>
                      <a:pt x="716" y="57"/>
                    </a:lnTo>
                    <a:lnTo>
                      <a:pt x="735" y="59"/>
                    </a:lnTo>
                    <a:lnTo>
                      <a:pt x="747" y="67"/>
                    </a:lnTo>
                    <a:lnTo>
                      <a:pt x="756" y="74"/>
                    </a:lnTo>
                    <a:lnTo>
                      <a:pt x="770" y="74"/>
                    </a:lnTo>
                    <a:lnTo>
                      <a:pt x="782" y="69"/>
                    </a:lnTo>
                    <a:lnTo>
                      <a:pt x="789" y="62"/>
                    </a:lnTo>
                    <a:lnTo>
                      <a:pt x="799" y="52"/>
                    </a:lnTo>
                    <a:lnTo>
                      <a:pt x="808" y="52"/>
                    </a:lnTo>
                    <a:lnTo>
                      <a:pt x="818" y="52"/>
                    </a:lnTo>
                    <a:lnTo>
                      <a:pt x="827" y="55"/>
                    </a:lnTo>
                    <a:lnTo>
                      <a:pt x="839" y="45"/>
                    </a:lnTo>
                    <a:lnTo>
                      <a:pt x="851" y="43"/>
                    </a:lnTo>
                    <a:lnTo>
                      <a:pt x="860" y="55"/>
                    </a:lnTo>
                    <a:lnTo>
                      <a:pt x="865" y="71"/>
                    </a:lnTo>
                    <a:lnTo>
                      <a:pt x="863" y="88"/>
                    </a:lnTo>
                    <a:lnTo>
                      <a:pt x="860" y="102"/>
                    </a:lnTo>
                    <a:lnTo>
                      <a:pt x="858" y="114"/>
                    </a:lnTo>
                    <a:lnTo>
                      <a:pt x="858" y="128"/>
                    </a:lnTo>
                    <a:lnTo>
                      <a:pt x="877" y="142"/>
                    </a:lnTo>
                    <a:lnTo>
                      <a:pt x="903" y="149"/>
                    </a:lnTo>
                    <a:lnTo>
                      <a:pt x="924" y="163"/>
                    </a:lnTo>
                    <a:lnTo>
                      <a:pt x="936" y="166"/>
                    </a:lnTo>
                    <a:lnTo>
                      <a:pt x="962" y="168"/>
                    </a:lnTo>
                    <a:lnTo>
                      <a:pt x="978" y="178"/>
                    </a:lnTo>
                    <a:lnTo>
                      <a:pt x="983" y="192"/>
                    </a:lnTo>
                    <a:lnTo>
                      <a:pt x="993" y="206"/>
                    </a:lnTo>
                    <a:lnTo>
                      <a:pt x="1007" y="204"/>
                    </a:lnTo>
                    <a:lnTo>
                      <a:pt x="1009" y="185"/>
                    </a:lnTo>
                    <a:lnTo>
                      <a:pt x="1030" y="180"/>
                    </a:lnTo>
                    <a:lnTo>
                      <a:pt x="1061" y="182"/>
                    </a:lnTo>
                    <a:lnTo>
                      <a:pt x="1087" y="185"/>
                    </a:lnTo>
                    <a:lnTo>
                      <a:pt x="1104" y="189"/>
                    </a:lnTo>
                    <a:lnTo>
                      <a:pt x="1111" y="204"/>
                    </a:lnTo>
                    <a:lnTo>
                      <a:pt x="1113" y="218"/>
                    </a:lnTo>
                    <a:lnTo>
                      <a:pt x="1106" y="232"/>
                    </a:lnTo>
                    <a:lnTo>
                      <a:pt x="1101" y="244"/>
                    </a:lnTo>
                    <a:lnTo>
                      <a:pt x="1101" y="258"/>
                    </a:lnTo>
                    <a:lnTo>
                      <a:pt x="1108" y="272"/>
                    </a:lnTo>
                    <a:lnTo>
                      <a:pt x="1118" y="284"/>
                    </a:lnTo>
                    <a:lnTo>
                      <a:pt x="1127" y="296"/>
                    </a:lnTo>
                    <a:lnTo>
                      <a:pt x="1127" y="308"/>
                    </a:lnTo>
                    <a:lnTo>
                      <a:pt x="1127" y="322"/>
                    </a:lnTo>
                    <a:lnTo>
                      <a:pt x="1127" y="333"/>
                    </a:lnTo>
                    <a:lnTo>
                      <a:pt x="1139" y="350"/>
                    </a:lnTo>
                    <a:lnTo>
                      <a:pt x="1148" y="371"/>
                    </a:lnTo>
                    <a:lnTo>
                      <a:pt x="1151" y="385"/>
                    </a:lnTo>
                    <a:lnTo>
                      <a:pt x="1153" y="400"/>
                    </a:lnTo>
                    <a:lnTo>
                      <a:pt x="1172" y="404"/>
                    </a:lnTo>
                    <a:lnTo>
                      <a:pt x="1198" y="402"/>
                    </a:lnTo>
                    <a:lnTo>
                      <a:pt x="1207" y="409"/>
                    </a:lnTo>
                    <a:lnTo>
                      <a:pt x="1215" y="421"/>
                    </a:lnTo>
                    <a:lnTo>
                      <a:pt x="1224" y="433"/>
                    </a:lnTo>
                    <a:lnTo>
                      <a:pt x="1236" y="433"/>
                    </a:lnTo>
                    <a:lnTo>
                      <a:pt x="1252" y="428"/>
                    </a:lnTo>
                    <a:lnTo>
                      <a:pt x="1278" y="428"/>
                    </a:lnTo>
                    <a:lnTo>
                      <a:pt x="1290" y="433"/>
                    </a:lnTo>
                    <a:lnTo>
                      <a:pt x="1300" y="459"/>
                    </a:lnTo>
                    <a:lnTo>
                      <a:pt x="1304" y="482"/>
                    </a:lnTo>
                    <a:lnTo>
                      <a:pt x="1307" y="501"/>
                    </a:lnTo>
                    <a:lnTo>
                      <a:pt x="1316" y="522"/>
                    </a:lnTo>
                    <a:lnTo>
                      <a:pt x="1321" y="551"/>
                    </a:lnTo>
                    <a:lnTo>
                      <a:pt x="1321" y="589"/>
                    </a:lnTo>
                    <a:lnTo>
                      <a:pt x="1323" y="600"/>
                    </a:lnTo>
                    <a:lnTo>
                      <a:pt x="1337" y="619"/>
                    </a:lnTo>
                    <a:lnTo>
                      <a:pt x="1345" y="636"/>
                    </a:lnTo>
                    <a:lnTo>
                      <a:pt x="1340" y="662"/>
                    </a:lnTo>
                    <a:lnTo>
                      <a:pt x="1337" y="667"/>
                    </a:lnTo>
                    <a:lnTo>
                      <a:pt x="1328" y="674"/>
                    </a:lnTo>
                    <a:lnTo>
                      <a:pt x="1316" y="690"/>
                    </a:lnTo>
                    <a:lnTo>
                      <a:pt x="1295" y="709"/>
                    </a:lnTo>
                    <a:lnTo>
                      <a:pt x="1274" y="714"/>
                    </a:lnTo>
                    <a:lnTo>
                      <a:pt x="1262" y="700"/>
                    </a:lnTo>
                    <a:lnTo>
                      <a:pt x="1248" y="681"/>
                    </a:lnTo>
                    <a:lnTo>
                      <a:pt x="1233" y="652"/>
                    </a:lnTo>
                    <a:lnTo>
                      <a:pt x="1222" y="631"/>
                    </a:lnTo>
                    <a:lnTo>
                      <a:pt x="1205" y="610"/>
                    </a:lnTo>
                    <a:lnTo>
                      <a:pt x="1191" y="600"/>
                    </a:lnTo>
                    <a:lnTo>
                      <a:pt x="1179" y="605"/>
                    </a:lnTo>
                    <a:lnTo>
                      <a:pt x="1167" y="615"/>
                    </a:lnTo>
                    <a:lnTo>
                      <a:pt x="1153" y="626"/>
                    </a:lnTo>
                    <a:lnTo>
                      <a:pt x="1141" y="633"/>
                    </a:lnTo>
                    <a:lnTo>
                      <a:pt x="1120" y="631"/>
                    </a:lnTo>
                    <a:lnTo>
                      <a:pt x="1089" y="624"/>
                    </a:lnTo>
                    <a:lnTo>
                      <a:pt x="1068" y="629"/>
                    </a:lnTo>
                    <a:lnTo>
                      <a:pt x="1044" y="641"/>
                    </a:lnTo>
                    <a:lnTo>
                      <a:pt x="1037" y="659"/>
                    </a:lnTo>
                    <a:lnTo>
                      <a:pt x="1035" y="683"/>
                    </a:lnTo>
                    <a:lnTo>
                      <a:pt x="1021" y="700"/>
                    </a:lnTo>
                    <a:lnTo>
                      <a:pt x="1000" y="707"/>
                    </a:lnTo>
                    <a:lnTo>
                      <a:pt x="985" y="728"/>
                    </a:lnTo>
                    <a:lnTo>
                      <a:pt x="969" y="737"/>
                    </a:lnTo>
                    <a:lnTo>
                      <a:pt x="950" y="735"/>
                    </a:lnTo>
                    <a:lnTo>
                      <a:pt x="926" y="735"/>
                    </a:lnTo>
                    <a:lnTo>
                      <a:pt x="910" y="740"/>
                    </a:lnTo>
                    <a:lnTo>
                      <a:pt x="889" y="752"/>
                    </a:lnTo>
                    <a:lnTo>
                      <a:pt x="879" y="768"/>
                    </a:lnTo>
                    <a:lnTo>
                      <a:pt x="872" y="787"/>
                    </a:lnTo>
                    <a:lnTo>
                      <a:pt x="851" y="778"/>
                    </a:lnTo>
                    <a:lnTo>
                      <a:pt x="827" y="766"/>
                    </a:lnTo>
                    <a:lnTo>
                      <a:pt x="801" y="759"/>
                    </a:lnTo>
                    <a:lnTo>
                      <a:pt x="778" y="756"/>
                    </a:lnTo>
                    <a:lnTo>
                      <a:pt x="759" y="747"/>
                    </a:lnTo>
                    <a:lnTo>
                      <a:pt x="735" y="730"/>
                    </a:lnTo>
                    <a:lnTo>
                      <a:pt x="716" y="721"/>
                    </a:lnTo>
                    <a:lnTo>
                      <a:pt x="690" y="721"/>
                    </a:lnTo>
                    <a:lnTo>
                      <a:pt x="652" y="721"/>
                    </a:lnTo>
                    <a:lnTo>
                      <a:pt x="622" y="721"/>
                    </a:lnTo>
                    <a:lnTo>
                      <a:pt x="593" y="704"/>
                    </a:lnTo>
                    <a:lnTo>
                      <a:pt x="572" y="688"/>
                    </a:lnTo>
                    <a:lnTo>
                      <a:pt x="553" y="676"/>
                    </a:lnTo>
                    <a:lnTo>
                      <a:pt x="530" y="667"/>
                    </a:lnTo>
                    <a:lnTo>
                      <a:pt x="511" y="678"/>
                    </a:lnTo>
                    <a:lnTo>
                      <a:pt x="499" y="695"/>
                    </a:lnTo>
                    <a:lnTo>
                      <a:pt x="485" y="711"/>
                    </a:lnTo>
                    <a:lnTo>
                      <a:pt x="461" y="719"/>
                    </a:lnTo>
                    <a:lnTo>
                      <a:pt x="430" y="733"/>
                    </a:lnTo>
                    <a:lnTo>
                      <a:pt x="404" y="749"/>
                    </a:lnTo>
                    <a:lnTo>
                      <a:pt x="383" y="770"/>
                    </a:lnTo>
                    <a:lnTo>
                      <a:pt x="374" y="792"/>
                    </a:lnTo>
                    <a:lnTo>
                      <a:pt x="371" y="813"/>
                    </a:lnTo>
                    <a:lnTo>
                      <a:pt x="378" y="827"/>
                    </a:lnTo>
                    <a:lnTo>
                      <a:pt x="374" y="834"/>
                    </a:lnTo>
                    <a:lnTo>
                      <a:pt x="374" y="841"/>
                    </a:lnTo>
                    <a:lnTo>
                      <a:pt x="359" y="841"/>
                    </a:lnTo>
                    <a:lnTo>
                      <a:pt x="331" y="841"/>
                    </a:lnTo>
                    <a:lnTo>
                      <a:pt x="289" y="841"/>
                    </a:lnTo>
                    <a:lnTo>
                      <a:pt x="248" y="841"/>
                    </a:lnTo>
                    <a:lnTo>
                      <a:pt x="196" y="789"/>
                    </a:lnTo>
                    <a:lnTo>
                      <a:pt x="182" y="780"/>
                    </a:lnTo>
                    <a:lnTo>
                      <a:pt x="166" y="775"/>
                    </a:lnTo>
                    <a:lnTo>
                      <a:pt x="156" y="766"/>
                    </a:lnTo>
                    <a:lnTo>
                      <a:pt x="147" y="752"/>
                    </a:lnTo>
                    <a:lnTo>
                      <a:pt x="135" y="737"/>
                    </a:lnTo>
                    <a:lnTo>
                      <a:pt x="109" y="735"/>
                    </a:lnTo>
                    <a:lnTo>
                      <a:pt x="83" y="733"/>
                    </a:lnTo>
                    <a:lnTo>
                      <a:pt x="74" y="723"/>
                    </a:lnTo>
                    <a:lnTo>
                      <a:pt x="50" y="702"/>
                    </a:lnTo>
                    <a:lnTo>
                      <a:pt x="31" y="681"/>
                    </a:lnTo>
                    <a:lnTo>
                      <a:pt x="22" y="671"/>
                    </a:lnTo>
                    <a:lnTo>
                      <a:pt x="7" y="662"/>
                    </a:lnTo>
                    <a:lnTo>
                      <a:pt x="0" y="582"/>
                    </a:lnTo>
                    <a:lnTo>
                      <a:pt x="10" y="565"/>
                    </a:lnTo>
                    <a:lnTo>
                      <a:pt x="24" y="556"/>
                    </a:lnTo>
                    <a:lnTo>
                      <a:pt x="36" y="548"/>
                    </a:lnTo>
                    <a:lnTo>
                      <a:pt x="55" y="551"/>
                    </a:lnTo>
                    <a:lnTo>
                      <a:pt x="74" y="541"/>
                    </a:lnTo>
                    <a:lnTo>
                      <a:pt x="90" y="530"/>
                    </a:lnTo>
                    <a:lnTo>
                      <a:pt x="92" y="508"/>
                    </a:lnTo>
                    <a:lnTo>
                      <a:pt x="88" y="487"/>
                    </a:lnTo>
                    <a:lnTo>
                      <a:pt x="83" y="463"/>
                    </a:lnTo>
                    <a:lnTo>
                      <a:pt x="71" y="440"/>
                    </a:lnTo>
                    <a:lnTo>
                      <a:pt x="55" y="416"/>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23" name="Freeform 22"/>
              <p:cNvSpPr>
                <a:spLocks/>
              </p:cNvSpPr>
              <p:nvPr/>
            </p:nvSpPr>
            <p:spPr bwMode="gray">
              <a:xfrm>
                <a:off x="-2613025" y="-201612"/>
                <a:ext cx="228600" cy="274638"/>
              </a:xfrm>
              <a:custGeom>
                <a:avLst/>
                <a:gdLst/>
                <a:ahLst/>
                <a:cxnLst>
                  <a:cxn ang="0">
                    <a:pos x="2" y="26"/>
                  </a:cxn>
                  <a:cxn ang="0">
                    <a:pos x="7" y="7"/>
                  </a:cxn>
                  <a:cxn ang="0">
                    <a:pos x="19" y="0"/>
                  </a:cxn>
                  <a:cxn ang="0">
                    <a:pos x="40" y="0"/>
                  </a:cxn>
                  <a:cxn ang="0">
                    <a:pos x="54" y="21"/>
                  </a:cxn>
                  <a:cxn ang="0">
                    <a:pos x="73" y="40"/>
                  </a:cxn>
                  <a:cxn ang="0">
                    <a:pos x="90" y="52"/>
                  </a:cxn>
                  <a:cxn ang="0">
                    <a:pos x="104" y="59"/>
                  </a:cxn>
                  <a:cxn ang="0">
                    <a:pos x="118" y="66"/>
                  </a:cxn>
                  <a:cxn ang="0">
                    <a:pos x="137" y="85"/>
                  </a:cxn>
                  <a:cxn ang="0">
                    <a:pos x="142" y="99"/>
                  </a:cxn>
                  <a:cxn ang="0">
                    <a:pos x="144" y="123"/>
                  </a:cxn>
                  <a:cxn ang="0">
                    <a:pos x="139" y="142"/>
                  </a:cxn>
                  <a:cxn ang="0">
                    <a:pos x="127" y="161"/>
                  </a:cxn>
                  <a:cxn ang="0">
                    <a:pos x="104" y="168"/>
                  </a:cxn>
                  <a:cxn ang="0">
                    <a:pos x="83" y="173"/>
                  </a:cxn>
                  <a:cxn ang="0">
                    <a:pos x="57" y="170"/>
                  </a:cxn>
                  <a:cxn ang="0">
                    <a:pos x="40" y="166"/>
                  </a:cxn>
                  <a:cxn ang="0">
                    <a:pos x="28" y="147"/>
                  </a:cxn>
                  <a:cxn ang="0">
                    <a:pos x="26" y="130"/>
                  </a:cxn>
                  <a:cxn ang="0">
                    <a:pos x="26" y="111"/>
                  </a:cxn>
                  <a:cxn ang="0">
                    <a:pos x="31" y="107"/>
                  </a:cxn>
                  <a:cxn ang="0">
                    <a:pos x="54" y="111"/>
                  </a:cxn>
                  <a:cxn ang="0">
                    <a:pos x="64" y="107"/>
                  </a:cxn>
                  <a:cxn ang="0">
                    <a:pos x="68" y="85"/>
                  </a:cxn>
                  <a:cxn ang="0">
                    <a:pos x="68" y="69"/>
                  </a:cxn>
                  <a:cxn ang="0">
                    <a:pos x="57" y="55"/>
                  </a:cxn>
                  <a:cxn ang="0">
                    <a:pos x="40" y="64"/>
                  </a:cxn>
                  <a:cxn ang="0">
                    <a:pos x="33" y="83"/>
                  </a:cxn>
                  <a:cxn ang="0">
                    <a:pos x="28" y="95"/>
                  </a:cxn>
                  <a:cxn ang="0">
                    <a:pos x="24" y="99"/>
                  </a:cxn>
                  <a:cxn ang="0">
                    <a:pos x="14" y="85"/>
                  </a:cxn>
                  <a:cxn ang="0">
                    <a:pos x="5" y="62"/>
                  </a:cxn>
                  <a:cxn ang="0">
                    <a:pos x="0" y="43"/>
                  </a:cxn>
                  <a:cxn ang="0">
                    <a:pos x="2" y="26"/>
                  </a:cxn>
                </a:cxnLst>
                <a:rect l="0" t="0" r="r" b="b"/>
                <a:pathLst>
                  <a:path w="144" h="173">
                    <a:moveTo>
                      <a:pt x="2" y="26"/>
                    </a:moveTo>
                    <a:lnTo>
                      <a:pt x="7" y="7"/>
                    </a:lnTo>
                    <a:lnTo>
                      <a:pt x="19" y="0"/>
                    </a:lnTo>
                    <a:lnTo>
                      <a:pt x="40" y="0"/>
                    </a:lnTo>
                    <a:lnTo>
                      <a:pt x="54" y="21"/>
                    </a:lnTo>
                    <a:lnTo>
                      <a:pt x="73" y="40"/>
                    </a:lnTo>
                    <a:lnTo>
                      <a:pt x="90" y="52"/>
                    </a:lnTo>
                    <a:lnTo>
                      <a:pt x="104" y="59"/>
                    </a:lnTo>
                    <a:lnTo>
                      <a:pt x="118" y="66"/>
                    </a:lnTo>
                    <a:lnTo>
                      <a:pt x="137" y="85"/>
                    </a:lnTo>
                    <a:lnTo>
                      <a:pt x="142" y="99"/>
                    </a:lnTo>
                    <a:lnTo>
                      <a:pt x="144" y="123"/>
                    </a:lnTo>
                    <a:lnTo>
                      <a:pt x="139" y="142"/>
                    </a:lnTo>
                    <a:lnTo>
                      <a:pt x="127" y="161"/>
                    </a:lnTo>
                    <a:lnTo>
                      <a:pt x="104" y="168"/>
                    </a:lnTo>
                    <a:lnTo>
                      <a:pt x="83" y="173"/>
                    </a:lnTo>
                    <a:lnTo>
                      <a:pt x="57" y="170"/>
                    </a:lnTo>
                    <a:lnTo>
                      <a:pt x="40" y="166"/>
                    </a:lnTo>
                    <a:lnTo>
                      <a:pt x="28" y="147"/>
                    </a:lnTo>
                    <a:lnTo>
                      <a:pt x="26" y="130"/>
                    </a:lnTo>
                    <a:lnTo>
                      <a:pt x="26" y="111"/>
                    </a:lnTo>
                    <a:lnTo>
                      <a:pt x="31" y="107"/>
                    </a:lnTo>
                    <a:lnTo>
                      <a:pt x="54" y="111"/>
                    </a:lnTo>
                    <a:lnTo>
                      <a:pt x="64" y="107"/>
                    </a:lnTo>
                    <a:lnTo>
                      <a:pt x="68" y="85"/>
                    </a:lnTo>
                    <a:lnTo>
                      <a:pt x="68" y="69"/>
                    </a:lnTo>
                    <a:lnTo>
                      <a:pt x="57" y="55"/>
                    </a:lnTo>
                    <a:lnTo>
                      <a:pt x="40" y="64"/>
                    </a:lnTo>
                    <a:lnTo>
                      <a:pt x="33" y="83"/>
                    </a:lnTo>
                    <a:lnTo>
                      <a:pt x="28" y="95"/>
                    </a:lnTo>
                    <a:lnTo>
                      <a:pt x="24" y="99"/>
                    </a:lnTo>
                    <a:lnTo>
                      <a:pt x="14" y="85"/>
                    </a:lnTo>
                    <a:lnTo>
                      <a:pt x="5" y="62"/>
                    </a:lnTo>
                    <a:lnTo>
                      <a:pt x="0" y="43"/>
                    </a:lnTo>
                    <a:lnTo>
                      <a:pt x="2" y="26"/>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24" name="Freeform 23"/>
              <p:cNvSpPr>
                <a:spLocks/>
              </p:cNvSpPr>
              <p:nvPr/>
            </p:nvSpPr>
            <p:spPr bwMode="gray">
              <a:xfrm>
                <a:off x="-3003550" y="-749300"/>
                <a:ext cx="379412" cy="458788"/>
              </a:xfrm>
              <a:custGeom>
                <a:avLst/>
                <a:gdLst/>
                <a:ahLst/>
                <a:cxnLst>
                  <a:cxn ang="0">
                    <a:pos x="7" y="147"/>
                  </a:cxn>
                  <a:cxn ang="0">
                    <a:pos x="21" y="163"/>
                  </a:cxn>
                  <a:cxn ang="0">
                    <a:pos x="36" y="185"/>
                  </a:cxn>
                  <a:cxn ang="0">
                    <a:pos x="36" y="196"/>
                  </a:cxn>
                  <a:cxn ang="0">
                    <a:pos x="24" y="206"/>
                  </a:cxn>
                  <a:cxn ang="0">
                    <a:pos x="10" y="211"/>
                  </a:cxn>
                  <a:cxn ang="0">
                    <a:pos x="10" y="225"/>
                  </a:cxn>
                  <a:cxn ang="0">
                    <a:pos x="12" y="251"/>
                  </a:cxn>
                  <a:cxn ang="0">
                    <a:pos x="24" y="258"/>
                  </a:cxn>
                  <a:cxn ang="0">
                    <a:pos x="47" y="277"/>
                  </a:cxn>
                  <a:cxn ang="0">
                    <a:pos x="69" y="286"/>
                  </a:cxn>
                  <a:cxn ang="0">
                    <a:pos x="97" y="289"/>
                  </a:cxn>
                  <a:cxn ang="0">
                    <a:pos x="111" y="284"/>
                  </a:cxn>
                  <a:cxn ang="0">
                    <a:pos x="121" y="265"/>
                  </a:cxn>
                  <a:cxn ang="0">
                    <a:pos x="125" y="248"/>
                  </a:cxn>
                  <a:cxn ang="0">
                    <a:pos x="130" y="227"/>
                  </a:cxn>
                  <a:cxn ang="0">
                    <a:pos x="140" y="220"/>
                  </a:cxn>
                  <a:cxn ang="0">
                    <a:pos x="158" y="215"/>
                  </a:cxn>
                  <a:cxn ang="0">
                    <a:pos x="180" y="220"/>
                  </a:cxn>
                  <a:cxn ang="0">
                    <a:pos x="187" y="229"/>
                  </a:cxn>
                  <a:cxn ang="0">
                    <a:pos x="192" y="248"/>
                  </a:cxn>
                  <a:cxn ang="0">
                    <a:pos x="189" y="258"/>
                  </a:cxn>
                  <a:cxn ang="0">
                    <a:pos x="184" y="267"/>
                  </a:cxn>
                  <a:cxn ang="0">
                    <a:pos x="189" y="272"/>
                  </a:cxn>
                  <a:cxn ang="0">
                    <a:pos x="203" y="272"/>
                  </a:cxn>
                  <a:cxn ang="0">
                    <a:pos x="220" y="258"/>
                  </a:cxn>
                  <a:cxn ang="0">
                    <a:pos x="236" y="241"/>
                  </a:cxn>
                  <a:cxn ang="0">
                    <a:pos x="239" y="227"/>
                  </a:cxn>
                  <a:cxn ang="0">
                    <a:pos x="227" y="203"/>
                  </a:cxn>
                  <a:cxn ang="0">
                    <a:pos x="210" y="187"/>
                  </a:cxn>
                  <a:cxn ang="0">
                    <a:pos x="189" y="168"/>
                  </a:cxn>
                  <a:cxn ang="0">
                    <a:pos x="177" y="154"/>
                  </a:cxn>
                  <a:cxn ang="0">
                    <a:pos x="173" y="137"/>
                  </a:cxn>
                  <a:cxn ang="0">
                    <a:pos x="173" y="123"/>
                  </a:cxn>
                  <a:cxn ang="0">
                    <a:pos x="180" y="111"/>
                  </a:cxn>
                  <a:cxn ang="0">
                    <a:pos x="189" y="100"/>
                  </a:cxn>
                  <a:cxn ang="0">
                    <a:pos x="192" y="83"/>
                  </a:cxn>
                  <a:cxn ang="0">
                    <a:pos x="175" y="71"/>
                  </a:cxn>
                  <a:cxn ang="0">
                    <a:pos x="149" y="71"/>
                  </a:cxn>
                  <a:cxn ang="0">
                    <a:pos x="128" y="66"/>
                  </a:cxn>
                  <a:cxn ang="0">
                    <a:pos x="111" y="55"/>
                  </a:cxn>
                  <a:cxn ang="0">
                    <a:pos x="107" y="29"/>
                  </a:cxn>
                  <a:cxn ang="0">
                    <a:pos x="107" y="10"/>
                  </a:cxn>
                  <a:cxn ang="0">
                    <a:pos x="102" y="3"/>
                  </a:cxn>
                  <a:cxn ang="0">
                    <a:pos x="81" y="0"/>
                  </a:cxn>
                  <a:cxn ang="0">
                    <a:pos x="59" y="7"/>
                  </a:cxn>
                  <a:cxn ang="0">
                    <a:pos x="43" y="17"/>
                  </a:cxn>
                  <a:cxn ang="0">
                    <a:pos x="33" y="31"/>
                  </a:cxn>
                  <a:cxn ang="0">
                    <a:pos x="21" y="52"/>
                  </a:cxn>
                  <a:cxn ang="0">
                    <a:pos x="21" y="71"/>
                  </a:cxn>
                  <a:cxn ang="0">
                    <a:pos x="36" y="76"/>
                  </a:cxn>
                  <a:cxn ang="0">
                    <a:pos x="59" y="81"/>
                  </a:cxn>
                  <a:cxn ang="0">
                    <a:pos x="69" y="88"/>
                  </a:cxn>
                  <a:cxn ang="0">
                    <a:pos x="69" y="102"/>
                  </a:cxn>
                  <a:cxn ang="0">
                    <a:pos x="59" y="109"/>
                  </a:cxn>
                  <a:cxn ang="0">
                    <a:pos x="36" y="107"/>
                  </a:cxn>
                  <a:cxn ang="0">
                    <a:pos x="19" y="107"/>
                  </a:cxn>
                  <a:cxn ang="0">
                    <a:pos x="7" y="114"/>
                  </a:cxn>
                  <a:cxn ang="0">
                    <a:pos x="3" y="130"/>
                  </a:cxn>
                  <a:cxn ang="0">
                    <a:pos x="0" y="130"/>
                  </a:cxn>
                  <a:cxn ang="0">
                    <a:pos x="7" y="147"/>
                  </a:cxn>
                </a:cxnLst>
                <a:rect l="0" t="0" r="r" b="b"/>
                <a:pathLst>
                  <a:path w="239" h="289">
                    <a:moveTo>
                      <a:pt x="7" y="147"/>
                    </a:moveTo>
                    <a:lnTo>
                      <a:pt x="21" y="163"/>
                    </a:lnTo>
                    <a:lnTo>
                      <a:pt x="36" y="185"/>
                    </a:lnTo>
                    <a:lnTo>
                      <a:pt x="36" y="196"/>
                    </a:lnTo>
                    <a:lnTo>
                      <a:pt x="24" y="206"/>
                    </a:lnTo>
                    <a:lnTo>
                      <a:pt x="10" y="211"/>
                    </a:lnTo>
                    <a:lnTo>
                      <a:pt x="10" y="225"/>
                    </a:lnTo>
                    <a:lnTo>
                      <a:pt x="12" y="251"/>
                    </a:lnTo>
                    <a:lnTo>
                      <a:pt x="24" y="258"/>
                    </a:lnTo>
                    <a:lnTo>
                      <a:pt x="47" y="277"/>
                    </a:lnTo>
                    <a:lnTo>
                      <a:pt x="69" y="286"/>
                    </a:lnTo>
                    <a:lnTo>
                      <a:pt x="97" y="289"/>
                    </a:lnTo>
                    <a:lnTo>
                      <a:pt x="111" y="284"/>
                    </a:lnTo>
                    <a:lnTo>
                      <a:pt x="121" y="265"/>
                    </a:lnTo>
                    <a:lnTo>
                      <a:pt x="125" y="248"/>
                    </a:lnTo>
                    <a:lnTo>
                      <a:pt x="130" y="227"/>
                    </a:lnTo>
                    <a:lnTo>
                      <a:pt x="140" y="220"/>
                    </a:lnTo>
                    <a:lnTo>
                      <a:pt x="158" y="215"/>
                    </a:lnTo>
                    <a:lnTo>
                      <a:pt x="180" y="220"/>
                    </a:lnTo>
                    <a:lnTo>
                      <a:pt x="187" y="229"/>
                    </a:lnTo>
                    <a:lnTo>
                      <a:pt x="192" y="248"/>
                    </a:lnTo>
                    <a:lnTo>
                      <a:pt x="189" y="258"/>
                    </a:lnTo>
                    <a:lnTo>
                      <a:pt x="184" y="267"/>
                    </a:lnTo>
                    <a:lnTo>
                      <a:pt x="189" y="272"/>
                    </a:lnTo>
                    <a:lnTo>
                      <a:pt x="203" y="272"/>
                    </a:lnTo>
                    <a:lnTo>
                      <a:pt x="220" y="258"/>
                    </a:lnTo>
                    <a:lnTo>
                      <a:pt x="236" y="241"/>
                    </a:lnTo>
                    <a:lnTo>
                      <a:pt x="239" y="227"/>
                    </a:lnTo>
                    <a:lnTo>
                      <a:pt x="227" y="203"/>
                    </a:lnTo>
                    <a:lnTo>
                      <a:pt x="210" y="187"/>
                    </a:lnTo>
                    <a:lnTo>
                      <a:pt x="189" y="168"/>
                    </a:lnTo>
                    <a:lnTo>
                      <a:pt x="177" y="154"/>
                    </a:lnTo>
                    <a:lnTo>
                      <a:pt x="173" y="137"/>
                    </a:lnTo>
                    <a:lnTo>
                      <a:pt x="173" y="123"/>
                    </a:lnTo>
                    <a:lnTo>
                      <a:pt x="180" y="111"/>
                    </a:lnTo>
                    <a:lnTo>
                      <a:pt x="189" y="100"/>
                    </a:lnTo>
                    <a:lnTo>
                      <a:pt x="192" y="83"/>
                    </a:lnTo>
                    <a:lnTo>
                      <a:pt x="175" y="71"/>
                    </a:lnTo>
                    <a:lnTo>
                      <a:pt x="149" y="71"/>
                    </a:lnTo>
                    <a:lnTo>
                      <a:pt x="128" y="66"/>
                    </a:lnTo>
                    <a:lnTo>
                      <a:pt x="111" y="55"/>
                    </a:lnTo>
                    <a:lnTo>
                      <a:pt x="107" y="29"/>
                    </a:lnTo>
                    <a:lnTo>
                      <a:pt x="107" y="10"/>
                    </a:lnTo>
                    <a:lnTo>
                      <a:pt x="102" y="3"/>
                    </a:lnTo>
                    <a:lnTo>
                      <a:pt x="81" y="0"/>
                    </a:lnTo>
                    <a:lnTo>
                      <a:pt x="59" y="7"/>
                    </a:lnTo>
                    <a:lnTo>
                      <a:pt x="43" y="17"/>
                    </a:lnTo>
                    <a:lnTo>
                      <a:pt x="33" y="31"/>
                    </a:lnTo>
                    <a:lnTo>
                      <a:pt x="21" y="52"/>
                    </a:lnTo>
                    <a:lnTo>
                      <a:pt x="21" y="71"/>
                    </a:lnTo>
                    <a:lnTo>
                      <a:pt x="36" y="76"/>
                    </a:lnTo>
                    <a:lnTo>
                      <a:pt x="59" y="81"/>
                    </a:lnTo>
                    <a:lnTo>
                      <a:pt x="69" y="88"/>
                    </a:lnTo>
                    <a:lnTo>
                      <a:pt x="69" y="102"/>
                    </a:lnTo>
                    <a:lnTo>
                      <a:pt x="59" y="109"/>
                    </a:lnTo>
                    <a:lnTo>
                      <a:pt x="36" y="107"/>
                    </a:lnTo>
                    <a:lnTo>
                      <a:pt x="19" y="107"/>
                    </a:lnTo>
                    <a:lnTo>
                      <a:pt x="7" y="114"/>
                    </a:lnTo>
                    <a:lnTo>
                      <a:pt x="3" y="130"/>
                    </a:lnTo>
                    <a:lnTo>
                      <a:pt x="0" y="130"/>
                    </a:lnTo>
                    <a:lnTo>
                      <a:pt x="7" y="147"/>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25" name="Freeform 24"/>
              <p:cNvSpPr>
                <a:spLocks/>
              </p:cNvSpPr>
              <p:nvPr/>
            </p:nvSpPr>
            <p:spPr bwMode="gray">
              <a:xfrm>
                <a:off x="-4886325" y="203200"/>
                <a:ext cx="376237" cy="330200"/>
              </a:xfrm>
              <a:custGeom>
                <a:avLst/>
                <a:gdLst/>
                <a:ahLst/>
                <a:cxnLst>
                  <a:cxn ang="0">
                    <a:pos x="237" y="194"/>
                  </a:cxn>
                  <a:cxn ang="0">
                    <a:pos x="229" y="206"/>
                  </a:cxn>
                  <a:cxn ang="0">
                    <a:pos x="208" y="208"/>
                  </a:cxn>
                  <a:cxn ang="0">
                    <a:pos x="180" y="201"/>
                  </a:cxn>
                  <a:cxn ang="0">
                    <a:pos x="161" y="194"/>
                  </a:cxn>
                  <a:cxn ang="0">
                    <a:pos x="142" y="187"/>
                  </a:cxn>
                  <a:cxn ang="0">
                    <a:pos x="126" y="175"/>
                  </a:cxn>
                  <a:cxn ang="0">
                    <a:pos x="111" y="168"/>
                  </a:cxn>
                  <a:cxn ang="0">
                    <a:pos x="95" y="163"/>
                  </a:cxn>
                  <a:cxn ang="0">
                    <a:pos x="81" y="166"/>
                  </a:cxn>
                  <a:cxn ang="0">
                    <a:pos x="69" y="177"/>
                  </a:cxn>
                  <a:cxn ang="0">
                    <a:pos x="48" y="182"/>
                  </a:cxn>
                  <a:cxn ang="0">
                    <a:pos x="33" y="175"/>
                  </a:cxn>
                  <a:cxn ang="0">
                    <a:pos x="19" y="163"/>
                  </a:cxn>
                  <a:cxn ang="0">
                    <a:pos x="12" y="151"/>
                  </a:cxn>
                  <a:cxn ang="0">
                    <a:pos x="3" y="140"/>
                  </a:cxn>
                  <a:cxn ang="0">
                    <a:pos x="0" y="118"/>
                  </a:cxn>
                  <a:cxn ang="0">
                    <a:pos x="7" y="100"/>
                  </a:cxn>
                  <a:cxn ang="0">
                    <a:pos x="15" y="83"/>
                  </a:cxn>
                  <a:cxn ang="0">
                    <a:pos x="29" y="71"/>
                  </a:cxn>
                  <a:cxn ang="0">
                    <a:pos x="41" y="59"/>
                  </a:cxn>
                  <a:cxn ang="0">
                    <a:pos x="67" y="50"/>
                  </a:cxn>
                  <a:cxn ang="0">
                    <a:pos x="90" y="36"/>
                  </a:cxn>
                  <a:cxn ang="0">
                    <a:pos x="118" y="10"/>
                  </a:cxn>
                  <a:cxn ang="0">
                    <a:pos x="142" y="0"/>
                  </a:cxn>
                  <a:cxn ang="0">
                    <a:pos x="149" y="10"/>
                  </a:cxn>
                  <a:cxn ang="0">
                    <a:pos x="152" y="33"/>
                  </a:cxn>
                  <a:cxn ang="0">
                    <a:pos x="152" y="50"/>
                  </a:cxn>
                  <a:cxn ang="0">
                    <a:pos x="152" y="71"/>
                  </a:cxn>
                  <a:cxn ang="0">
                    <a:pos x="152" y="97"/>
                  </a:cxn>
                  <a:cxn ang="0">
                    <a:pos x="161" y="126"/>
                  </a:cxn>
                  <a:cxn ang="0">
                    <a:pos x="182" y="140"/>
                  </a:cxn>
                  <a:cxn ang="0">
                    <a:pos x="204" y="163"/>
                  </a:cxn>
                  <a:cxn ang="0">
                    <a:pos x="227" y="187"/>
                  </a:cxn>
                  <a:cxn ang="0">
                    <a:pos x="237" y="194"/>
                  </a:cxn>
                </a:cxnLst>
                <a:rect l="0" t="0" r="r" b="b"/>
                <a:pathLst>
                  <a:path w="237" h="208">
                    <a:moveTo>
                      <a:pt x="237" y="194"/>
                    </a:moveTo>
                    <a:lnTo>
                      <a:pt x="229" y="206"/>
                    </a:lnTo>
                    <a:lnTo>
                      <a:pt x="208" y="208"/>
                    </a:lnTo>
                    <a:lnTo>
                      <a:pt x="180" y="201"/>
                    </a:lnTo>
                    <a:lnTo>
                      <a:pt x="161" y="194"/>
                    </a:lnTo>
                    <a:lnTo>
                      <a:pt x="142" y="187"/>
                    </a:lnTo>
                    <a:lnTo>
                      <a:pt x="126" y="175"/>
                    </a:lnTo>
                    <a:lnTo>
                      <a:pt x="111" y="168"/>
                    </a:lnTo>
                    <a:lnTo>
                      <a:pt x="95" y="163"/>
                    </a:lnTo>
                    <a:lnTo>
                      <a:pt x="81" y="166"/>
                    </a:lnTo>
                    <a:lnTo>
                      <a:pt x="69" y="177"/>
                    </a:lnTo>
                    <a:lnTo>
                      <a:pt x="48" y="182"/>
                    </a:lnTo>
                    <a:lnTo>
                      <a:pt x="33" y="175"/>
                    </a:lnTo>
                    <a:lnTo>
                      <a:pt x="19" y="163"/>
                    </a:lnTo>
                    <a:lnTo>
                      <a:pt x="12" y="151"/>
                    </a:lnTo>
                    <a:lnTo>
                      <a:pt x="3" y="140"/>
                    </a:lnTo>
                    <a:lnTo>
                      <a:pt x="0" y="118"/>
                    </a:lnTo>
                    <a:lnTo>
                      <a:pt x="7" y="100"/>
                    </a:lnTo>
                    <a:lnTo>
                      <a:pt x="15" y="83"/>
                    </a:lnTo>
                    <a:lnTo>
                      <a:pt x="29" y="71"/>
                    </a:lnTo>
                    <a:lnTo>
                      <a:pt x="41" y="59"/>
                    </a:lnTo>
                    <a:lnTo>
                      <a:pt x="67" y="50"/>
                    </a:lnTo>
                    <a:lnTo>
                      <a:pt x="90" y="36"/>
                    </a:lnTo>
                    <a:lnTo>
                      <a:pt x="118" y="10"/>
                    </a:lnTo>
                    <a:lnTo>
                      <a:pt x="142" y="0"/>
                    </a:lnTo>
                    <a:lnTo>
                      <a:pt x="149" y="10"/>
                    </a:lnTo>
                    <a:lnTo>
                      <a:pt x="152" y="33"/>
                    </a:lnTo>
                    <a:lnTo>
                      <a:pt x="152" y="50"/>
                    </a:lnTo>
                    <a:lnTo>
                      <a:pt x="152" y="71"/>
                    </a:lnTo>
                    <a:lnTo>
                      <a:pt x="152" y="97"/>
                    </a:lnTo>
                    <a:lnTo>
                      <a:pt x="161" y="126"/>
                    </a:lnTo>
                    <a:lnTo>
                      <a:pt x="182" y="140"/>
                    </a:lnTo>
                    <a:lnTo>
                      <a:pt x="204" y="163"/>
                    </a:lnTo>
                    <a:lnTo>
                      <a:pt x="227" y="187"/>
                    </a:lnTo>
                    <a:lnTo>
                      <a:pt x="237" y="194"/>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26" name="Freeform 25"/>
              <p:cNvSpPr>
                <a:spLocks/>
              </p:cNvSpPr>
              <p:nvPr/>
            </p:nvSpPr>
            <p:spPr bwMode="gray">
              <a:xfrm>
                <a:off x="-7162800" y="1298575"/>
                <a:ext cx="2055812" cy="1984375"/>
              </a:xfrm>
              <a:custGeom>
                <a:avLst/>
                <a:gdLst/>
                <a:ahLst/>
                <a:cxnLst>
                  <a:cxn ang="0">
                    <a:pos x="435" y="158"/>
                  </a:cxn>
                  <a:cxn ang="0">
                    <a:pos x="338" y="224"/>
                  </a:cxn>
                  <a:cxn ang="0">
                    <a:pos x="336" y="291"/>
                  </a:cxn>
                  <a:cxn ang="0">
                    <a:pos x="265" y="328"/>
                  </a:cxn>
                  <a:cxn ang="0">
                    <a:pos x="192" y="359"/>
                  </a:cxn>
                  <a:cxn ang="0">
                    <a:pos x="123" y="343"/>
                  </a:cxn>
                  <a:cxn ang="0">
                    <a:pos x="31" y="376"/>
                  </a:cxn>
                  <a:cxn ang="0">
                    <a:pos x="74" y="470"/>
                  </a:cxn>
                  <a:cxn ang="0">
                    <a:pos x="109" y="558"/>
                  </a:cxn>
                  <a:cxn ang="0">
                    <a:pos x="95" y="654"/>
                  </a:cxn>
                  <a:cxn ang="0">
                    <a:pos x="50" y="735"/>
                  </a:cxn>
                  <a:cxn ang="0">
                    <a:pos x="60" y="798"/>
                  </a:cxn>
                  <a:cxn ang="0">
                    <a:pos x="15" y="853"/>
                  </a:cxn>
                  <a:cxn ang="0">
                    <a:pos x="10" y="947"/>
                  </a:cxn>
                  <a:cxn ang="0">
                    <a:pos x="52" y="1051"/>
                  </a:cxn>
                  <a:cxn ang="0">
                    <a:pos x="64" y="1101"/>
                  </a:cxn>
                  <a:cxn ang="0">
                    <a:pos x="114" y="1157"/>
                  </a:cxn>
                  <a:cxn ang="0">
                    <a:pos x="187" y="1250"/>
                  </a:cxn>
                  <a:cxn ang="0">
                    <a:pos x="253" y="1250"/>
                  </a:cxn>
                  <a:cxn ang="0">
                    <a:pos x="305" y="1179"/>
                  </a:cxn>
                  <a:cxn ang="0">
                    <a:pos x="357" y="1139"/>
                  </a:cxn>
                  <a:cxn ang="0">
                    <a:pos x="430" y="1117"/>
                  </a:cxn>
                  <a:cxn ang="0">
                    <a:pos x="608" y="1013"/>
                  </a:cxn>
                  <a:cxn ang="0">
                    <a:pos x="674" y="952"/>
                  </a:cxn>
                  <a:cxn ang="0">
                    <a:pos x="759" y="1046"/>
                  </a:cxn>
                  <a:cxn ang="0">
                    <a:pos x="846" y="978"/>
                  </a:cxn>
                  <a:cxn ang="0">
                    <a:pos x="945" y="900"/>
                  </a:cxn>
                  <a:cxn ang="0">
                    <a:pos x="990" y="836"/>
                  </a:cxn>
                  <a:cxn ang="0">
                    <a:pos x="1000" y="737"/>
                  </a:cxn>
                  <a:cxn ang="0">
                    <a:pos x="1075" y="678"/>
                  </a:cxn>
                  <a:cxn ang="0">
                    <a:pos x="1127" y="600"/>
                  </a:cxn>
                  <a:cxn ang="0">
                    <a:pos x="1229" y="584"/>
                  </a:cxn>
                  <a:cxn ang="0">
                    <a:pos x="1269" y="480"/>
                  </a:cxn>
                  <a:cxn ang="0">
                    <a:pos x="1274" y="390"/>
                  </a:cxn>
                  <a:cxn ang="0">
                    <a:pos x="1231" y="350"/>
                  </a:cxn>
                  <a:cxn ang="0">
                    <a:pos x="1193" y="309"/>
                  </a:cxn>
                  <a:cxn ang="0">
                    <a:pos x="1203" y="260"/>
                  </a:cxn>
                  <a:cxn ang="0">
                    <a:pos x="1163" y="187"/>
                  </a:cxn>
                  <a:cxn ang="0">
                    <a:pos x="1156" y="128"/>
                  </a:cxn>
                  <a:cxn ang="0">
                    <a:pos x="1196" y="38"/>
                  </a:cxn>
                  <a:cxn ang="0">
                    <a:pos x="1141" y="28"/>
                  </a:cxn>
                  <a:cxn ang="0">
                    <a:pos x="1075" y="71"/>
                  </a:cxn>
                  <a:cxn ang="0">
                    <a:pos x="1047" y="12"/>
                  </a:cxn>
                  <a:cxn ang="0">
                    <a:pos x="986" y="21"/>
                  </a:cxn>
                  <a:cxn ang="0">
                    <a:pos x="917" y="26"/>
                  </a:cxn>
                  <a:cxn ang="0">
                    <a:pos x="889" y="66"/>
                  </a:cxn>
                  <a:cxn ang="0">
                    <a:pos x="910" y="154"/>
                  </a:cxn>
                  <a:cxn ang="0">
                    <a:pos x="957" y="201"/>
                  </a:cxn>
                  <a:cxn ang="0">
                    <a:pos x="919" y="241"/>
                  </a:cxn>
                  <a:cxn ang="0">
                    <a:pos x="882" y="220"/>
                  </a:cxn>
                  <a:cxn ang="0">
                    <a:pos x="778" y="272"/>
                  </a:cxn>
                  <a:cxn ang="0">
                    <a:pos x="754" y="232"/>
                  </a:cxn>
                  <a:cxn ang="0">
                    <a:pos x="761" y="191"/>
                  </a:cxn>
                  <a:cxn ang="0">
                    <a:pos x="773" y="125"/>
                  </a:cxn>
                  <a:cxn ang="0">
                    <a:pos x="742" y="61"/>
                  </a:cxn>
                  <a:cxn ang="0">
                    <a:pos x="676" y="17"/>
                  </a:cxn>
                  <a:cxn ang="0">
                    <a:pos x="629" y="50"/>
                  </a:cxn>
                  <a:cxn ang="0">
                    <a:pos x="586" y="76"/>
                  </a:cxn>
                  <a:cxn ang="0">
                    <a:pos x="485" y="85"/>
                  </a:cxn>
                </a:cxnLst>
                <a:rect l="0" t="0" r="r" b="b"/>
                <a:pathLst>
                  <a:path w="1295" h="1250">
                    <a:moveTo>
                      <a:pt x="461" y="83"/>
                    </a:moveTo>
                    <a:lnTo>
                      <a:pt x="454" y="104"/>
                    </a:lnTo>
                    <a:lnTo>
                      <a:pt x="452" y="125"/>
                    </a:lnTo>
                    <a:lnTo>
                      <a:pt x="449" y="142"/>
                    </a:lnTo>
                    <a:lnTo>
                      <a:pt x="435" y="158"/>
                    </a:lnTo>
                    <a:lnTo>
                      <a:pt x="411" y="161"/>
                    </a:lnTo>
                    <a:lnTo>
                      <a:pt x="395" y="168"/>
                    </a:lnTo>
                    <a:lnTo>
                      <a:pt x="371" y="189"/>
                    </a:lnTo>
                    <a:lnTo>
                      <a:pt x="357" y="213"/>
                    </a:lnTo>
                    <a:lnTo>
                      <a:pt x="338" y="224"/>
                    </a:lnTo>
                    <a:lnTo>
                      <a:pt x="319" y="232"/>
                    </a:lnTo>
                    <a:lnTo>
                      <a:pt x="312" y="241"/>
                    </a:lnTo>
                    <a:lnTo>
                      <a:pt x="319" y="255"/>
                    </a:lnTo>
                    <a:lnTo>
                      <a:pt x="334" y="265"/>
                    </a:lnTo>
                    <a:lnTo>
                      <a:pt x="336" y="291"/>
                    </a:lnTo>
                    <a:lnTo>
                      <a:pt x="326" y="319"/>
                    </a:lnTo>
                    <a:lnTo>
                      <a:pt x="310" y="338"/>
                    </a:lnTo>
                    <a:lnTo>
                      <a:pt x="293" y="340"/>
                    </a:lnTo>
                    <a:lnTo>
                      <a:pt x="279" y="333"/>
                    </a:lnTo>
                    <a:lnTo>
                      <a:pt x="265" y="328"/>
                    </a:lnTo>
                    <a:lnTo>
                      <a:pt x="248" y="338"/>
                    </a:lnTo>
                    <a:lnTo>
                      <a:pt x="239" y="352"/>
                    </a:lnTo>
                    <a:lnTo>
                      <a:pt x="218" y="357"/>
                    </a:lnTo>
                    <a:lnTo>
                      <a:pt x="206" y="352"/>
                    </a:lnTo>
                    <a:lnTo>
                      <a:pt x="192" y="359"/>
                    </a:lnTo>
                    <a:lnTo>
                      <a:pt x="187" y="376"/>
                    </a:lnTo>
                    <a:lnTo>
                      <a:pt x="171" y="380"/>
                    </a:lnTo>
                    <a:lnTo>
                      <a:pt x="154" y="373"/>
                    </a:lnTo>
                    <a:lnTo>
                      <a:pt x="142" y="357"/>
                    </a:lnTo>
                    <a:lnTo>
                      <a:pt x="123" y="343"/>
                    </a:lnTo>
                    <a:lnTo>
                      <a:pt x="107" y="345"/>
                    </a:lnTo>
                    <a:lnTo>
                      <a:pt x="97" y="354"/>
                    </a:lnTo>
                    <a:lnTo>
                      <a:pt x="85" y="369"/>
                    </a:lnTo>
                    <a:lnTo>
                      <a:pt x="45" y="369"/>
                    </a:lnTo>
                    <a:lnTo>
                      <a:pt x="31" y="376"/>
                    </a:lnTo>
                    <a:lnTo>
                      <a:pt x="26" y="395"/>
                    </a:lnTo>
                    <a:lnTo>
                      <a:pt x="36" y="413"/>
                    </a:lnTo>
                    <a:lnTo>
                      <a:pt x="60" y="435"/>
                    </a:lnTo>
                    <a:lnTo>
                      <a:pt x="67" y="451"/>
                    </a:lnTo>
                    <a:lnTo>
                      <a:pt x="74" y="470"/>
                    </a:lnTo>
                    <a:lnTo>
                      <a:pt x="67" y="494"/>
                    </a:lnTo>
                    <a:lnTo>
                      <a:pt x="62" y="513"/>
                    </a:lnTo>
                    <a:lnTo>
                      <a:pt x="74" y="539"/>
                    </a:lnTo>
                    <a:lnTo>
                      <a:pt x="95" y="550"/>
                    </a:lnTo>
                    <a:lnTo>
                      <a:pt x="109" y="558"/>
                    </a:lnTo>
                    <a:lnTo>
                      <a:pt x="114" y="574"/>
                    </a:lnTo>
                    <a:lnTo>
                      <a:pt x="104" y="598"/>
                    </a:lnTo>
                    <a:lnTo>
                      <a:pt x="100" y="619"/>
                    </a:lnTo>
                    <a:lnTo>
                      <a:pt x="97" y="635"/>
                    </a:lnTo>
                    <a:lnTo>
                      <a:pt x="95" y="654"/>
                    </a:lnTo>
                    <a:lnTo>
                      <a:pt x="78" y="671"/>
                    </a:lnTo>
                    <a:lnTo>
                      <a:pt x="57" y="692"/>
                    </a:lnTo>
                    <a:lnTo>
                      <a:pt x="48" y="706"/>
                    </a:lnTo>
                    <a:lnTo>
                      <a:pt x="45" y="723"/>
                    </a:lnTo>
                    <a:lnTo>
                      <a:pt x="50" y="735"/>
                    </a:lnTo>
                    <a:lnTo>
                      <a:pt x="64" y="737"/>
                    </a:lnTo>
                    <a:lnTo>
                      <a:pt x="74" y="744"/>
                    </a:lnTo>
                    <a:lnTo>
                      <a:pt x="78" y="763"/>
                    </a:lnTo>
                    <a:lnTo>
                      <a:pt x="74" y="787"/>
                    </a:lnTo>
                    <a:lnTo>
                      <a:pt x="60" y="798"/>
                    </a:lnTo>
                    <a:lnTo>
                      <a:pt x="38" y="806"/>
                    </a:lnTo>
                    <a:lnTo>
                      <a:pt x="12" y="803"/>
                    </a:lnTo>
                    <a:lnTo>
                      <a:pt x="0" y="817"/>
                    </a:lnTo>
                    <a:lnTo>
                      <a:pt x="0" y="836"/>
                    </a:lnTo>
                    <a:lnTo>
                      <a:pt x="15" y="853"/>
                    </a:lnTo>
                    <a:lnTo>
                      <a:pt x="31" y="867"/>
                    </a:lnTo>
                    <a:lnTo>
                      <a:pt x="36" y="895"/>
                    </a:lnTo>
                    <a:lnTo>
                      <a:pt x="34" y="919"/>
                    </a:lnTo>
                    <a:lnTo>
                      <a:pt x="19" y="928"/>
                    </a:lnTo>
                    <a:lnTo>
                      <a:pt x="10" y="947"/>
                    </a:lnTo>
                    <a:lnTo>
                      <a:pt x="10" y="964"/>
                    </a:lnTo>
                    <a:lnTo>
                      <a:pt x="26" y="983"/>
                    </a:lnTo>
                    <a:lnTo>
                      <a:pt x="43" y="992"/>
                    </a:lnTo>
                    <a:lnTo>
                      <a:pt x="48" y="1037"/>
                    </a:lnTo>
                    <a:lnTo>
                      <a:pt x="52" y="1051"/>
                    </a:lnTo>
                    <a:lnTo>
                      <a:pt x="67" y="1058"/>
                    </a:lnTo>
                    <a:lnTo>
                      <a:pt x="78" y="1063"/>
                    </a:lnTo>
                    <a:lnTo>
                      <a:pt x="81" y="1077"/>
                    </a:lnTo>
                    <a:lnTo>
                      <a:pt x="74" y="1091"/>
                    </a:lnTo>
                    <a:lnTo>
                      <a:pt x="64" y="1101"/>
                    </a:lnTo>
                    <a:lnTo>
                      <a:pt x="60" y="1120"/>
                    </a:lnTo>
                    <a:lnTo>
                      <a:pt x="62" y="1136"/>
                    </a:lnTo>
                    <a:lnTo>
                      <a:pt x="76" y="1148"/>
                    </a:lnTo>
                    <a:lnTo>
                      <a:pt x="104" y="1146"/>
                    </a:lnTo>
                    <a:lnTo>
                      <a:pt x="114" y="1157"/>
                    </a:lnTo>
                    <a:lnTo>
                      <a:pt x="119" y="1179"/>
                    </a:lnTo>
                    <a:lnTo>
                      <a:pt x="116" y="1202"/>
                    </a:lnTo>
                    <a:lnTo>
                      <a:pt x="116" y="1217"/>
                    </a:lnTo>
                    <a:lnTo>
                      <a:pt x="137" y="1247"/>
                    </a:lnTo>
                    <a:lnTo>
                      <a:pt x="187" y="1250"/>
                    </a:lnTo>
                    <a:lnTo>
                      <a:pt x="197" y="1235"/>
                    </a:lnTo>
                    <a:lnTo>
                      <a:pt x="213" y="1221"/>
                    </a:lnTo>
                    <a:lnTo>
                      <a:pt x="230" y="1231"/>
                    </a:lnTo>
                    <a:lnTo>
                      <a:pt x="241" y="1245"/>
                    </a:lnTo>
                    <a:lnTo>
                      <a:pt x="253" y="1250"/>
                    </a:lnTo>
                    <a:lnTo>
                      <a:pt x="270" y="1247"/>
                    </a:lnTo>
                    <a:lnTo>
                      <a:pt x="277" y="1226"/>
                    </a:lnTo>
                    <a:lnTo>
                      <a:pt x="279" y="1200"/>
                    </a:lnTo>
                    <a:lnTo>
                      <a:pt x="286" y="1183"/>
                    </a:lnTo>
                    <a:lnTo>
                      <a:pt x="305" y="1179"/>
                    </a:lnTo>
                    <a:lnTo>
                      <a:pt x="322" y="1188"/>
                    </a:lnTo>
                    <a:lnTo>
                      <a:pt x="329" y="1186"/>
                    </a:lnTo>
                    <a:lnTo>
                      <a:pt x="336" y="1172"/>
                    </a:lnTo>
                    <a:lnTo>
                      <a:pt x="338" y="1155"/>
                    </a:lnTo>
                    <a:lnTo>
                      <a:pt x="357" y="1139"/>
                    </a:lnTo>
                    <a:lnTo>
                      <a:pt x="376" y="1129"/>
                    </a:lnTo>
                    <a:lnTo>
                      <a:pt x="395" y="1136"/>
                    </a:lnTo>
                    <a:lnTo>
                      <a:pt x="404" y="1143"/>
                    </a:lnTo>
                    <a:lnTo>
                      <a:pt x="414" y="1139"/>
                    </a:lnTo>
                    <a:lnTo>
                      <a:pt x="430" y="1117"/>
                    </a:lnTo>
                    <a:lnTo>
                      <a:pt x="473" y="1096"/>
                    </a:lnTo>
                    <a:lnTo>
                      <a:pt x="497" y="1087"/>
                    </a:lnTo>
                    <a:lnTo>
                      <a:pt x="537" y="1044"/>
                    </a:lnTo>
                    <a:lnTo>
                      <a:pt x="582" y="1025"/>
                    </a:lnTo>
                    <a:lnTo>
                      <a:pt x="608" y="1013"/>
                    </a:lnTo>
                    <a:lnTo>
                      <a:pt x="626" y="971"/>
                    </a:lnTo>
                    <a:lnTo>
                      <a:pt x="641" y="945"/>
                    </a:lnTo>
                    <a:lnTo>
                      <a:pt x="657" y="931"/>
                    </a:lnTo>
                    <a:lnTo>
                      <a:pt x="669" y="933"/>
                    </a:lnTo>
                    <a:lnTo>
                      <a:pt x="674" y="952"/>
                    </a:lnTo>
                    <a:lnTo>
                      <a:pt x="678" y="959"/>
                    </a:lnTo>
                    <a:lnTo>
                      <a:pt x="711" y="983"/>
                    </a:lnTo>
                    <a:lnTo>
                      <a:pt x="742" y="999"/>
                    </a:lnTo>
                    <a:lnTo>
                      <a:pt x="752" y="1016"/>
                    </a:lnTo>
                    <a:lnTo>
                      <a:pt x="759" y="1046"/>
                    </a:lnTo>
                    <a:lnTo>
                      <a:pt x="775" y="1065"/>
                    </a:lnTo>
                    <a:lnTo>
                      <a:pt x="794" y="1065"/>
                    </a:lnTo>
                    <a:lnTo>
                      <a:pt x="806" y="1042"/>
                    </a:lnTo>
                    <a:lnTo>
                      <a:pt x="815" y="1009"/>
                    </a:lnTo>
                    <a:lnTo>
                      <a:pt x="846" y="978"/>
                    </a:lnTo>
                    <a:lnTo>
                      <a:pt x="877" y="966"/>
                    </a:lnTo>
                    <a:lnTo>
                      <a:pt x="893" y="957"/>
                    </a:lnTo>
                    <a:lnTo>
                      <a:pt x="910" y="926"/>
                    </a:lnTo>
                    <a:lnTo>
                      <a:pt x="919" y="914"/>
                    </a:lnTo>
                    <a:lnTo>
                      <a:pt x="945" y="900"/>
                    </a:lnTo>
                    <a:lnTo>
                      <a:pt x="948" y="883"/>
                    </a:lnTo>
                    <a:lnTo>
                      <a:pt x="938" y="862"/>
                    </a:lnTo>
                    <a:lnTo>
                      <a:pt x="938" y="841"/>
                    </a:lnTo>
                    <a:lnTo>
                      <a:pt x="962" y="836"/>
                    </a:lnTo>
                    <a:lnTo>
                      <a:pt x="990" y="836"/>
                    </a:lnTo>
                    <a:lnTo>
                      <a:pt x="1002" y="817"/>
                    </a:lnTo>
                    <a:lnTo>
                      <a:pt x="1012" y="796"/>
                    </a:lnTo>
                    <a:lnTo>
                      <a:pt x="1016" y="768"/>
                    </a:lnTo>
                    <a:lnTo>
                      <a:pt x="1014" y="744"/>
                    </a:lnTo>
                    <a:lnTo>
                      <a:pt x="1000" y="737"/>
                    </a:lnTo>
                    <a:lnTo>
                      <a:pt x="986" y="730"/>
                    </a:lnTo>
                    <a:lnTo>
                      <a:pt x="990" y="713"/>
                    </a:lnTo>
                    <a:lnTo>
                      <a:pt x="1007" y="697"/>
                    </a:lnTo>
                    <a:lnTo>
                      <a:pt x="1033" y="680"/>
                    </a:lnTo>
                    <a:lnTo>
                      <a:pt x="1075" y="678"/>
                    </a:lnTo>
                    <a:lnTo>
                      <a:pt x="1097" y="678"/>
                    </a:lnTo>
                    <a:lnTo>
                      <a:pt x="1108" y="661"/>
                    </a:lnTo>
                    <a:lnTo>
                      <a:pt x="1111" y="638"/>
                    </a:lnTo>
                    <a:lnTo>
                      <a:pt x="1113" y="619"/>
                    </a:lnTo>
                    <a:lnTo>
                      <a:pt x="1127" y="600"/>
                    </a:lnTo>
                    <a:lnTo>
                      <a:pt x="1151" y="598"/>
                    </a:lnTo>
                    <a:lnTo>
                      <a:pt x="1167" y="609"/>
                    </a:lnTo>
                    <a:lnTo>
                      <a:pt x="1182" y="619"/>
                    </a:lnTo>
                    <a:lnTo>
                      <a:pt x="1205" y="607"/>
                    </a:lnTo>
                    <a:lnTo>
                      <a:pt x="1229" y="584"/>
                    </a:lnTo>
                    <a:lnTo>
                      <a:pt x="1252" y="558"/>
                    </a:lnTo>
                    <a:lnTo>
                      <a:pt x="1260" y="529"/>
                    </a:lnTo>
                    <a:lnTo>
                      <a:pt x="1269" y="515"/>
                    </a:lnTo>
                    <a:lnTo>
                      <a:pt x="1264" y="506"/>
                    </a:lnTo>
                    <a:lnTo>
                      <a:pt x="1269" y="480"/>
                    </a:lnTo>
                    <a:lnTo>
                      <a:pt x="1281" y="454"/>
                    </a:lnTo>
                    <a:lnTo>
                      <a:pt x="1295" y="430"/>
                    </a:lnTo>
                    <a:lnTo>
                      <a:pt x="1295" y="406"/>
                    </a:lnTo>
                    <a:lnTo>
                      <a:pt x="1286" y="392"/>
                    </a:lnTo>
                    <a:lnTo>
                      <a:pt x="1274" y="390"/>
                    </a:lnTo>
                    <a:lnTo>
                      <a:pt x="1250" y="385"/>
                    </a:lnTo>
                    <a:lnTo>
                      <a:pt x="1243" y="378"/>
                    </a:lnTo>
                    <a:lnTo>
                      <a:pt x="1238" y="366"/>
                    </a:lnTo>
                    <a:lnTo>
                      <a:pt x="1234" y="361"/>
                    </a:lnTo>
                    <a:lnTo>
                      <a:pt x="1231" y="350"/>
                    </a:lnTo>
                    <a:lnTo>
                      <a:pt x="1231" y="335"/>
                    </a:lnTo>
                    <a:lnTo>
                      <a:pt x="1224" y="326"/>
                    </a:lnTo>
                    <a:lnTo>
                      <a:pt x="1217" y="321"/>
                    </a:lnTo>
                    <a:lnTo>
                      <a:pt x="1203" y="319"/>
                    </a:lnTo>
                    <a:lnTo>
                      <a:pt x="1193" y="309"/>
                    </a:lnTo>
                    <a:lnTo>
                      <a:pt x="1193" y="298"/>
                    </a:lnTo>
                    <a:lnTo>
                      <a:pt x="1193" y="291"/>
                    </a:lnTo>
                    <a:lnTo>
                      <a:pt x="1203" y="281"/>
                    </a:lnTo>
                    <a:lnTo>
                      <a:pt x="1205" y="272"/>
                    </a:lnTo>
                    <a:lnTo>
                      <a:pt x="1203" y="260"/>
                    </a:lnTo>
                    <a:lnTo>
                      <a:pt x="1179" y="250"/>
                    </a:lnTo>
                    <a:lnTo>
                      <a:pt x="1160" y="239"/>
                    </a:lnTo>
                    <a:lnTo>
                      <a:pt x="1158" y="224"/>
                    </a:lnTo>
                    <a:lnTo>
                      <a:pt x="1163" y="206"/>
                    </a:lnTo>
                    <a:lnTo>
                      <a:pt x="1163" y="187"/>
                    </a:lnTo>
                    <a:lnTo>
                      <a:pt x="1158" y="172"/>
                    </a:lnTo>
                    <a:lnTo>
                      <a:pt x="1156" y="158"/>
                    </a:lnTo>
                    <a:lnTo>
                      <a:pt x="1146" y="151"/>
                    </a:lnTo>
                    <a:lnTo>
                      <a:pt x="1144" y="139"/>
                    </a:lnTo>
                    <a:lnTo>
                      <a:pt x="1156" y="128"/>
                    </a:lnTo>
                    <a:lnTo>
                      <a:pt x="1172" y="116"/>
                    </a:lnTo>
                    <a:lnTo>
                      <a:pt x="1189" y="102"/>
                    </a:lnTo>
                    <a:lnTo>
                      <a:pt x="1196" y="87"/>
                    </a:lnTo>
                    <a:lnTo>
                      <a:pt x="1198" y="66"/>
                    </a:lnTo>
                    <a:lnTo>
                      <a:pt x="1196" y="38"/>
                    </a:lnTo>
                    <a:lnTo>
                      <a:pt x="1189" y="21"/>
                    </a:lnTo>
                    <a:lnTo>
                      <a:pt x="1179" y="12"/>
                    </a:lnTo>
                    <a:lnTo>
                      <a:pt x="1165" y="10"/>
                    </a:lnTo>
                    <a:lnTo>
                      <a:pt x="1149" y="17"/>
                    </a:lnTo>
                    <a:lnTo>
                      <a:pt x="1141" y="28"/>
                    </a:lnTo>
                    <a:lnTo>
                      <a:pt x="1130" y="38"/>
                    </a:lnTo>
                    <a:lnTo>
                      <a:pt x="1113" y="45"/>
                    </a:lnTo>
                    <a:lnTo>
                      <a:pt x="1104" y="61"/>
                    </a:lnTo>
                    <a:lnTo>
                      <a:pt x="1085" y="71"/>
                    </a:lnTo>
                    <a:lnTo>
                      <a:pt x="1075" y="71"/>
                    </a:lnTo>
                    <a:lnTo>
                      <a:pt x="1061" y="66"/>
                    </a:lnTo>
                    <a:lnTo>
                      <a:pt x="1052" y="59"/>
                    </a:lnTo>
                    <a:lnTo>
                      <a:pt x="1049" y="43"/>
                    </a:lnTo>
                    <a:lnTo>
                      <a:pt x="1049" y="28"/>
                    </a:lnTo>
                    <a:lnTo>
                      <a:pt x="1047" y="12"/>
                    </a:lnTo>
                    <a:lnTo>
                      <a:pt x="1040" y="2"/>
                    </a:lnTo>
                    <a:lnTo>
                      <a:pt x="1028" y="0"/>
                    </a:lnTo>
                    <a:lnTo>
                      <a:pt x="1014" y="0"/>
                    </a:lnTo>
                    <a:lnTo>
                      <a:pt x="1000" y="7"/>
                    </a:lnTo>
                    <a:lnTo>
                      <a:pt x="986" y="21"/>
                    </a:lnTo>
                    <a:lnTo>
                      <a:pt x="974" y="31"/>
                    </a:lnTo>
                    <a:lnTo>
                      <a:pt x="960" y="35"/>
                    </a:lnTo>
                    <a:lnTo>
                      <a:pt x="948" y="35"/>
                    </a:lnTo>
                    <a:lnTo>
                      <a:pt x="936" y="33"/>
                    </a:lnTo>
                    <a:lnTo>
                      <a:pt x="917" y="26"/>
                    </a:lnTo>
                    <a:lnTo>
                      <a:pt x="905" y="26"/>
                    </a:lnTo>
                    <a:lnTo>
                      <a:pt x="889" y="31"/>
                    </a:lnTo>
                    <a:lnTo>
                      <a:pt x="882" y="45"/>
                    </a:lnTo>
                    <a:lnTo>
                      <a:pt x="882" y="57"/>
                    </a:lnTo>
                    <a:lnTo>
                      <a:pt x="889" y="66"/>
                    </a:lnTo>
                    <a:lnTo>
                      <a:pt x="898" y="78"/>
                    </a:lnTo>
                    <a:lnTo>
                      <a:pt x="905" y="87"/>
                    </a:lnTo>
                    <a:lnTo>
                      <a:pt x="905" y="111"/>
                    </a:lnTo>
                    <a:lnTo>
                      <a:pt x="905" y="132"/>
                    </a:lnTo>
                    <a:lnTo>
                      <a:pt x="910" y="154"/>
                    </a:lnTo>
                    <a:lnTo>
                      <a:pt x="919" y="161"/>
                    </a:lnTo>
                    <a:lnTo>
                      <a:pt x="931" y="168"/>
                    </a:lnTo>
                    <a:lnTo>
                      <a:pt x="945" y="180"/>
                    </a:lnTo>
                    <a:lnTo>
                      <a:pt x="957" y="194"/>
                    </a:lnTo>
                    <a:lnTo>
                      <a:pt x="957" y="201"/>
                    </a:lnTo>
                    <a:lnTo>
                      <a:pt x="948" y="210"/>
                    </a:lnTo>
                    <a:lnTo>
                      <a:pt x="938" y="215"/>
                    </a:lnTo>
                    <a:lnTo>
                      <a:pt x="934" y="222"/>
                    </a:lnTo>
                    <a:lnTo>
                      <a:pt x="929" y="232"/>
                    </a:lnTo>
                    <a:lnTo>
                      <a:pt x="919" y="241"/>
                    </a:lnTo>
                    <a:lnTo>
                      <a:pt x="910" y="241"/>
                    </a:lnTo>
                    <a:lnTo>
                      <a:pt x="905" y="234"/>
                    </a:lnTo>
                    <a:lnTo>
                      <a:pt x="900" y="224"/>
                    </a:lnTo>
                    <a:lnTo>
                      <a:pt x="896" y="220"/>
                    </a:lnTo>
                    <a:lnTo>
                      <a:pt x="882" y="220"/>
                    </a:lnTo>
                    <a:lnTo>
                      <a:pt x="872" y="229"/>
                    </a:lnTo>
                    <a:lnTo>
                      <a:pt x="858" y="241"/>
                    </a:lnTo>
                    <a:lnTo>
                      <a:pt x="834" y="253"/>
                    </a:lnTo>
                    <a:lnTo>
                      <a:pt x="806" y="265"/>
                    </a:lnTo>
                    <a:lnTo>
                      <a:pt x="778" y="272"/>
                    </a:lnTo>
                    <a:lnTo>
                      <a:pt x="754" y="272"/>
                    </a:lnTo>
                    <a:lnTo>
                      <a:pt x="740" y="267"/>
                    </a:lnTo>
                    <a:lnTo>
                      <a:pt x="737" y="255"/>
                    </a:lnTo>
                    <a:lnTo>
                      <a:pt x="740" y="243"/>
                    </a:lnTo>
                    <a:lnTo>
                      <a:pt x="754" y="232"/>
                    </a:lnTo>
                    <a:lnTo>
                      <a:pt x="768" y="222"/>
                    </a:lnTo>
                    <a:lnTo>
                      <a:pt x="780" y="213"/>
                    </a:lnTo>
                    <a:lnTo>
                      <a:pt x="778" y="203"/>
                    </a:lnTo>
                    <a:lnTo>
                      <a:pt x="775" y="196"/>
                    </a:lnTo>
                    <a:lnTo>
                      <a:pt x="761" y="191"/>
                    </a:lnTo>
                    <a:lnTo>
                      <a:pt x="754" y="184"/>
                    </a:lnTo>
                    <a:lnTo>
                      <a:pt x="754" y="175"/>
                    </a:lnTo>
                    <a:lnTo>
                      <a:pt x="761" y="161"/>
                    </a:lnTo>
                    <a:lnTo>
                      <a:pt x="768" y="151"/>
                    </a:lnTo>
                    <a:lnTo>
                      <a:pt x="773" y="125"/>
                    </a:lnTo>
                    <a:lnTo>
                      <a:pt x="771" y="109"/>
                    </a:lnTo>
                    <a:lnTo>
                      <a:pt x="768" y="97"/>
                    </a:lnTo>
                    <a:lnTo>
                      <a:pt x="763" y="83"/>
                    </a:lnTo>
                    <a:lnTo>
                      <a:pt x="754" y="69"/>
                    </a:lnTo>
                    <a:lnTo>
                      <a:pt x="742" y="61"/>
                    </a:lnTo>
                    <a:lnTo>
                      <a:pt x="730" y="61"/>
                    </a:lnTo>
                    <a:lnTo>
                      <a:pt x="716" y="50"/>
                    </a:lnTo>
                    <a:lnTo>
                      <a:pt x="704" y="40"/>
                    </a:lnTo>
                    <a:lnTo>
                      <a:pt x="686" y="28"/>
                    </a:lnTo>
                    <a:lnTo>
                      <a:pt x="676" y="17"/>
                    </a:lnTo>
                    <a:lnTo>
                      <a:pt x="669" y="12"/>
                    </a:lnTo>
                    <a:lnTo>
                      <a:pt x="657" y="12"/>
                    </a:lnTo>
                    <a:lnTo>
                      <a:pt x="648" y="19"/>
                    </a:lnTo>
                    <a:lnTo>
                      <a:pt x="636" y="33"/>
                    </a:lnTo>
                    <a:lnTo>
                      <a:pt x="629" y="50"/>
                    </a:lnTo>
                    <a:lnTo>
                      <a:pt x="622" y="69"/>
                    </a:lnTo>
                    <a:lnTo>
                      <a:pt x="612" y="83"/>
                    </a:lnTo>
                    <a:lnTo>
                      <a:pt x="605" y="85"/>
                    </a:lnTo>
                    <a:lnTo>
                      <a:pt x="596" y="80"/>
                    </a:lnTo>
                    <a:lnTo>
                      <a:pt x="586" y="76"/>
                    </a:lnTo>
                    <a:lnTo>
                      <a:pt x="572" y="73"/>
                    </a:lnTo>
                    <a:lnTo>
                      <a:pt x="563" y="78"/>
                    </a:lnTo>
                    <a:lnTo>
                      <a:pt x="541" y="83"/>
                    </a:lnTo>
                    <a:lnTo>
                      <a:pt x="513" y="83"/>
                    </a:lnTo>
                    <a:lnTo>
                      <a:pt x="485" y="85"/>
                    </a:lnTo>
                    <a:lnTo>
                      <a:pt x="461" y="83"/>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27" name="Freeform 26"/>
              <p:cNvSpPr>
                <a:spLocks/>
              </p:cNvSpPr>
              <p:nvPr/>
            </p:nvSpPr>
            <p:spPr bwMode="gray">
              <a:xfrm>
                <a:off x="-4435475" y="855663"/>
                <a:ext cx="1530350" cy="1901825"/>
              </a:xfrm>
              <a:custGeom>
                <a:avLst/>
                <a:gdLst/>
                <a:ahLst/>
                <a:cxnLst>
                  <a:cxn ang="0">
                    <a:pos x="900" y="801"/>
                  </a:cxn>
                  <a:cxn ang="0">
                    <a:pos x="846" y="822"/>
                  </a:cxn>
                  <a:cxn ang="0">
                    <a:pos x="775" y="803"/>
                  </a:cxn>
                  <a:cxn ang="0">
                    <a:pos x="742" y="848"/>
                  </a:cxn>
                  <a:cxn ang="0">
                    <a:pos x="666" y="832"/>
                  </a:cxn>
                  <a:cxn ang="0">
                    <a:pos x="581" y="867"/>
                  </a:cxn>
                  <a:cxn ang="0">
                    <a:pos x="536" y="936"/>
                  </a:cxn>
                  <a:cxn ang="0">
                    <a:pos x="548" y="1047"/>
                  </a:cxn>
                  <a:cxn ang="0">
                    <a:pos x="548" y="1179"/>
                  </a:cxn>
                  <a:cxn ang="0">
                    <a:pos x="496" y="1198"/>
                  </a:cxn>
                  <a:cxn ang="0">
                    <a:pos x="430" y="1172"/>
                  </a:cxn>
                  <a:cxn ang="0">
                    <a:pos x="378" y="1158"/>
                  </a:cxn>
                  <a:cxn ang="0">
                    <a:pos x="307" y="1125"/>
                  </a:cxn>
                  <a:cxn ang="0">
                    <a:pos x="316" y="1056"/>
                  </a:cxn>
                  <a:cxn ang="0">
                    <a:pos x="295" y="1002"/>
                  </a:cxn>
                  <a:cxn ang="0">
                    <a:pos x="290" y="955"/>
                  </a:cxn>
                  <a:cxn ang="0">
                    <a:pos x="203" y="950"/>
                  </a:cxn>
                  <a:cxn ang="0">
                    <a:pos x="142" y="898"/>
                  </a:cxn>
                  <a:cxn ang="0">
                    <a:pos x="94" y="844"/>
                  </a:cxn>
                  <a:cxn ang="0">
                    <a:pos x="31" y="813"/>
                  </a:cxn>
                  <a:cxn ang="0">
                    <a:pos x="21" y="780"/>
                  </a:cxn>
                  <a:cxn ang="0">
                    <a:pos x="5" y="695"/>
                  </a:cxn>
                  <a:cxn ang="0">
                    <a:pos x="14" y="662"/>
                  </a:cxn>
                  <a:cxn ang="0">
                    <a:pos x="2" y="624"/>
                  </a:cxn>
                  <a:cxn ang="0">
                    <a:pos x="54" y="612"/>
                  </a:cxn>
                  <a:cxn ang="0">
                    <a:pos x="156" y="548"/>
                  </a:cxn>
                  <a:cxn ang="0">
                    <a:pos x="165" y="470"/>
                  </a:cxn>
                  <a:cxn ang="0">
                    <a:pos x="170" y="416"/>
                  </a:cxn>
                  <a:cxn ang="0">
                    <a:pos x="156" y="366"/>
                  </a:cxn>
                  <a:cxn ang="0">
                    <a:pos x="158" y="305"/>
                  </a:cxn>
                  <a:cxn ang="0">
                    <a:pos x="118" y="218"/>
                  </a:cxn>
                  <a:cxn ang="0">
                    <a:pos x="90" y="133"/>
                  </a:cxn>
                  <a:cxn ang="0">
                    <a:pos x="137" y="107"/>
                  </a:cxn>
                  <a:cxn ang="0">
                    <a:pos x="170" y="66"/>
                  </a:cxn>
                  <a:cxn ang="0">
                    <a:pos x="220" y="95"/>
                  </a:cxn>
                  <a:cxn ang="0">
                    <a:pos x="269" y="83"/>
                  </a:cxn>
                  <a:cxn ang="0">
                    <a:pos x="321" y="62"/>
                  </a:cxn>
                  <a:cxn ang="0">
                    <a:pos x="373" y="0"/>
                  </a:cxn>
                  <a:cxn ang="0">
                    <a:pos x="399" y="22"/>
                  </a:cxn>
                  <a:cxn ang="0">
                    <a:pos x="439" y="52"/>
                  </a:cxn>
                  <a:cxn ang="0">
                    <a:pos x="468" y="69"/>
                  </a:cxn>
                  <a:cxn ang="0">
                    <a:pos x="538" y="74"/>
                  </a:cxn>
                  <a:cxn ang="0">
                    <a:pos x="572" y="92"/>
                  </a:cxn>
                  <a:cxn ang="0">
                    <a:pos x="607" y="97"/>
                  </a:cxn>
                  <a:cxn ang="0">
                    <a:pos x="602" y="156"/>
                  </a:cxn>
                  <a:cxn ang="0">
                    <a:pos x="593" y="220"/>
                  </a:cxn>
                  <a:cxn ang="0">
                    <a:pos x="557" y="258"/>
                  </a:cxn>
                  <a:cxn ang="0">
                    <a:pos x="605" y="293"/>
                  </a:cxn>
                  <a:cxn ang="0">
                    <a:pos x="649" y="326"/>
                  </a:cxn>
                  <a:cxn ang="0">
                    <a:pos x="628" y="378"/>
                  </a:cxn>
                  <a:cxn ang="0">
                    <a:pos x="619" y="433"/>
                  </a:cxn>
                  <a:cxn ang="0">
                    <a:pos x="626" y="463"/>
                  </a:cxn>
                  <a:cxn ang="0">
                    <a:pos x="590" y="477"/>
                  </a:cxn>
                  <a:cxn ang="0">
                    <a:pos x="602" y="534"/>
                  </a:cxn>
                  <a:cxn ang="0">
                    <a:pos x="668" y="588"/>
                  </a:cxn>
                  <a:cxn ang="0">
                    <a:pos x="735" y="610"/>
                  </a:cxn>
                  <a:cxn ang="0">
                    <a:pos x="805" y="636"/>
                  </a:cxn>
                  <a:cxn ang="0">
                    <a:pos x="834" y="666"/>
                  </a:cxn>
                  <a:cxn ang="0">
                    <a:pos x="888" y="676"/>
                  </a:cxn>
                  <a:cxn ang="0">
                    <a:pos x="914" y="657"/>
                  </a:cxn>
                  <a:cxn ang="0">
                    <a:pos x="938" y="674"/>
                  </a:cxn>
                  <a:cxn ang="0">
                    <a:pos x="942" y="733"/>
                  </a:cxn>
                  <a:cxn ang="0">
                    <a:pos x="964" y="782"/>
                  </a:cxn>
                </a:cxnLst>
                <a:rect l="0" t="0" r="r" b="b"/>
                <a:pathLst>
                  <a:path w="964" h="1198">
                    <a:moveTo>
                      <a:pt x="954" y="815"/>
                    </a:moveTo>
                    <a:lnTo>
                      <a:pt x="933" y="806"/>
                    </a:lnTo>
                    <a:lnTo>
                      <a:pt x="900" y="801"/>
                    </a:lnTo>
                    <a:lnTo>
                      <a:pt x="874" y="803"/>
                    </a:lnTo>
                    <a:lnTo>
                      <a:pt x="860" y="818"/>
                    </a:lnTo>
                    <a:lnTo>
                      <a:pt x="846" y="822"/>
                    </a:lnTo>
                    <a:lnTo>
                      <a:pt x="831" y="806"/>
                    </a:lnTo>
                    <a:lnTo>
                      <a:pt x="803" y="799"/>
                    </a:lnTo>
                    <a:lnTo>
                      <a:pt x="775" y="803"/>
                    </a:lnTo>
                    <a:lnTo>
                      <a:pt x="753" y="808"/>
                    </a:lnTo>
                    <a:lnTo>
                      <a:pt x="746" y="832"/>
                    </a:lnTo>
                    <a:lnTo>
                      <a:pt x="742" y="848"/>
                    </a:lnTo>
                    <a:lnTo>
                      <a:pt x="725" y="844"/>
                    </a:lnTo>
                    <a:lnTo>
                      <a:pt x="709" y="832"/>
                    </a:lnTo>
                    <a:lnTo>
                      <a:pt x="666" y="832"/>
                    </a:lnTo>
                    <a:lnTo>
                      <a:pt x="633" y="834"/>
                    </a:lnTo>
                    <a:lnTo>
                      <a:pt x="600" y="855"/>
                    </a:lnTo>
                    <a:lnTo>
                      <a:pt x="581" y="867"/>
                    </a:lnTo>
                    <a:lnTo>
                      <a:pt x="562" y="877"/>
                    </a:lnTo>
                    <a:lnTo>
                      <a:pt x="548" y="896"/>
                    </a:lnTo>
                    <a:lnTo>
                      <a:pt x="536" y="936"/>
                    </a:lnTo>
                    <a:lnTo>
                      <a:pt x="541" y="997"/>
                    </a:lnTo>
                    <a:lnTo>
                      <a:pt x="546" y="1023"/>
                    </a:lnTo>
                    <a:lnTo>
                      <a:pt x="548" y="1047"/>
                    </a:lnTo>
                    <a:lnTo>
                      <a:pt x="560" y="1089"/>
                    </a:lnTo>
                    <a:lnTo>
                      <a:pt x="553" y="1151"/>
                    </a:lnTo>
                    <a:lnTo>
                      <a:pt x="548" y="1179"/>
                    </a:lnTo>
                    <a:lnTo>
                      <a:pt x="529" y="1181"/>
                    </a:lnTo>
                    <a:lnTo>
                      <a:pt x="515" y="1196"/>
                    </a:lnTo>
                    <a:lnTo>
                      <a:pt x="496" y="1198"/>
                    </a:lnTo>
                    <a:lnTo>
                      <a:pt x="475" y="1177"/>
                    </a:lnTo>
                    <a:lnTo>
                      <a:pt x="451" y="1165"/>
                    </a:lnTo>
                    <a:lnTo>
                      <a:pt x="430" y="1172"/>
                    </a:lnTo>
                    <a:lnTo>
                      <a:pt x="409" y="1184"/>
                    </a:lnTo>
                    <a:lnTo>
                      <a:pt x="392" y="1165"/>
                    </a:lnTo>
                    <a:lnTo>
                      <a:pt x="378" y="1158"/>
                    </a:lnTo>
                    <a:lnTo>
                      <a:pt x="354" y="1165"/>
                    </a:lnTo>
                    <a:lnTo>
                      <a:pt x="321" y="1153"/>
                    </a:lnTo>
                    <a:lnTo>
                      <a:pt x="307" y="1125"/>
                    </a:lnTo>
                    <a:lnTo>
                      <a:pt x="300" y="1094"/>
                    </a:lnTo>
                    <a:lnTo>
                      <a:pt x="305" y="1063"/>
                    </a:lnTo>
                    <a:lnTo>
                      <a:pt x="316" y="1056"/>
                    </a:lnTo>
                    <a:lnTo>
                      <a:pt x="323" y="1040"/>
                    </a:lnTo>
                    <a:lnTo>
                      <a:pt x="321" y="1023"/>
                    </a:lnTo>
                    <a:lnTo>
                      <a:pt x="295" y="1002"/>
                    </a:lnTo>
                    <a:lnTo>
                      <a:pt x="286" y="990"/>
                    </a:lnTo>
                    <a:lnTo>
                      <a:pt x="293" y="971"/>
                    </a:lnTo>
                    <a:lnTo>
                      <a:pt x="290" y="955"/>
                    </a:lnTo>
                    <a:lnTo>
                      <a:pt x="269" y="945"/>
                    </a:lnTo>
                    <a:lnTo>
                      <a:pt x="224" y="948"/>
                    </a:lnTo>
                    <a:lnTo>
                      <a:pt x="203" y="950"/>
                    </a:lnTo>
                    <a:lnTo>
                      <a:pt x="177" y="943"/>
                    </a:lnTo>
                    <a:lnTo>
                      <a:pt x="153" y="922"/>
                    </a:lnTo>
                    <a:lnTo>
                      <a:pt x="142" y="898"/>
                    </a:lnTo>
                    <a:lnTo>
                      <a:pt x="123" y="881"/>
                    </a:lnTo>
                    <a:lnTo>
                      <a:pt x="101" y="870"/>
                    </a:lnTo>
                    <a:lnTo>
                      <a:pt x="94" y="844"/>
                    </a:lnTo>
                    <a:lnTo>
                      <a:pt x="78" y="829"/>
                    </a:lnTo>
                    <a:lnTo>
                      <a:pt x="52" y="818"/>
                    </a:lnTo>
                    <a:lnTo>
                      <a:pt x="31" y="813"/>
                    </a:lnTo>
                    <a:lnTo>
                      <a:pt x="16" y="825"/>
                    </a:lnTo>
                    <a:lnTo>
                      <a:pt x="21" y="803"/>
                    </a:lnTo>
                    <a:lnTo>
                      <a:pt x="21" y="780"/>
                    </a:lnTo>
                    <a:lnTo>
                      <a:pt x="2" y="737"/>
                    </a:lnTo>
                    <a:lnTo>
                      <a:pt x="0" y="716"/>
                    </a:lnTo>
                    <a:lnTo>
                      <a:pt x="5" y="695"/>
                    </a:lnTo>
                    <a:lnTo>
                      <a:pt x="12" y="683"/>
                    </a:lnTo>
                    <a:lnTo>
                      <a:pt x="16" y="676"/>
                    </a:lnTo>
                    <a:lnTo>
                      <a:pt x="14" y="662"/>
                    </a:lnTo>
                    <a:lnTo>
                      <a:pt x="9" y="652"/>
                    </a:lnTo>
                    <a:lnTo>
                      <a:pt x="2" y="638"/>
                    </a:lnTo>
                    <a:lnTo>
                      <a:pt x="2" y="624"/>
                    </a:lnTo>
                    <a:lnTo>
                      <a:pt x="14" y="612"/>
                    </a:lnTo>
                    <a:lnTo>
                      <a:pt x="35" y="610"/>
                    </a:lnTo>
                    <a:lnTo>
                      <a:pt x="54" y="612"/>
                    </a:lnTo>
                    <a:lnTo>
                      <a:pt x="75" y="610"/>
                    </a:lnTo>
                    <a:lnTo>
                      <a:pt x="125" y="579"/>
                    </a:lnTo>
                    <a:lnTo>
                      <a:pt x="156" y="548"/>
                    </a:lnTo>
                    <a:lnTo>
                      <a:pt x="170" y="520"/>
                    </a:lnTo>
                    <a:lnTo>
                      <a:pt x="172" y="492"/>
                    </a:lnTo>
                    <a:lnTo>
                      <a:pt x="165" y="470"/>
                    </a:lnTo>
                    <a:lnTo>
                      <a:pt x="158" y="454"/>
                    </a:lnTo>
                    <a:lnTo>
                      <a:pt x="163" y="433"/>
                    </a:lnTo>
                    <a:lnTo>
                      <a:pt x="170" y="416"/>
                    </a:lnTo>
                    <a:lnTo>
                      <a:pt x="168" y="400"/>
                    </a:lnTo>
                    <a:lnTo>
                      <a:pt x="158" y="383"/>
                    </a:lnTo>
                    <a:lnTo>
                      <a:pt x="156" y="366"/>
                    </a:lnTo>
                    <a:lnTo>
                      <a:pt x="168" y="350"/>
                    </a:lnTo>
                    <a:lnTo>
                      <a:pt x="170" y="326"/>
                    </a:lnTo>
                    <a:lnTo>
                      <a:pt x="158" y="305"/>
                    </a:lnTo>
                    <a:lnTo>
                      <a:pt x="156" y="272"/>
                    </a:lnTo>
                    <a:lnTo>
                      <a:pt x="139" y="241"/>
                    </a:lnTo>
                    <a:lnTo>
                      <a:pt x="118" y="218"/>
                    </a:lnTo>
                    <a:lnTo>
                      <a:pt x="104" y="194"/>
                    </a:lnTo>
                    <a:lnTo>
                      <a:pt x="92" y="161"/>
                    </a:lnTo>
                    <a:lnTo>
                      <a:pt x="90" y="133"/>
                    </a:lnTo>
                    <a:lnTo>
                      <a:pt x="94" y="116"/>
                    </a:lnTo>
                    <a:lnTo>
                      <a:pt x="116" y="111"/>
                    </a:lnTo>
                    <a:lnTo>
                      <a:pt x="137" y="107"/>
                    </a:lnTo>
                    <a:lnTo>
                      <a:pt x="149" y="95"/>
                    </a:lnTo>
                    <a:lnTo>
                      <a:pt x="153" y="81"/>
                    </a:lnTo>
                    <a:lnTo>
                      <a:pt x="170" y="66"/>
                    </a:lnTo>
                    <a:lnTo>
                      <a:pt x="194" y="66"/>
                    </a:lnTo>
                    <a:lnTo>
                      <a:pt x="208" y="76"/>
                    </a:lnTo>
                    <a:lnTo>
                      <a:pt x="220" y="95"/>
                    </a:lnTo>
                    <a:lnTo>
                      <a:pt x="236" y="97"/>
                    </a:lnTo>
                    <a:lnTo>
                      <a:pt x="255" y="90"/>
                    </a:lnTo>
                    <a:lnTo>
                      <a:pt x="269" y="83"/>
                    </a:lnTo>
                    <a:lnTo>
                      <a:pt x="288" y="85"/>
                    </a:lnTo>
                    <a:lnTo>
                      <a:pt x="300" y="85"/>
                    </a:lnTo>
                    <a:lnTo>
                      <a:pt x="321" y="62"/>
                    </a:lnTo>
                    <a:lnTo>
                      <a:pt x="349" y="24"/>
                    </a:lnTo>
                    <a:lnTo>
                      <a:pt x="368" y="7"/>
                    </a:lnTo>
                    <a:lnTo>
                      <a:pt x="373" y="0"/>
                    </a:lnTo>
                    <a:lnTo>
                      <a:pt x="383" y="7"/>
                    </a:lnTo>
                    <a:lnTo>
                      <a:pt x="390" y="17"/>
                    </a:lnTo>
                    <a:lnTo>
                      <a:pt x="399" y="22"/>
                    </a:lnTo>
                    <a:lnTo>
                      <a:pt x="420" y="22"/>
                    </a:lnTo>
                    <a:lnTo>
                      <a:pt x="432" y="33"/>
                    </a:lnTo>
                    <a:lnTo>
                      <a:pt x="439" y="52"/>
                    </a:lnTo>
                    <a:lnTo>
                      <a:pt x="442" y="62"/>
                    </a:lnTo>
                    <a:lnTo>
                      <a:pt x="458" y="64"/>
                    </a:lnTo>
                    <a:lnTo>
                      <a:pt x="468" y="69"/>
                    </a:lnTo>
                    <a:lnTo>
                      <a:pt x="491" y="74"/>
                    </a:lnTo>
                    <a:lnTo>
                      <a:pt x="515" y="74"/>
                    </a:lnTo>
                    <a:lnTo>
                      <a:pt x="538" y="74"/>
                    </a:lnTo>
                    <a:lnTo>
                      <a:pt x="550" y="74"/>
                    </a:lnTo>
                    <a:lnTo>
                      <a:pt x="564" y="88"/>
                    </a:lnTo>
                    <a:lnTo>
                      <a:pt x="572" y="92"/>
                    </a:lnTo>
                    <a:lnTo>
                      <a:pt x="588" y="92"/>
                    </a:lnTo>
                    <a:lnTo>
                      <a:pt x="600" y="88"/>
                    </a:lnTo>
                    <a:lnTo>
                      <a:pt x="607" y="97"/>
                    </a:lnTo>
                    <a:lnTo>
                      <a:pt x="607" y="111"/>
                    </a:lnTo>
                    <a:lnTo>
                      <a:pt x="605" y="142"/>
                    </a:lnTo>
                    <a:lnTo>
                      <a:pt x="602" y="156"/>
                    </a:lnTo>
                    <a:lnTo>
                      <a:pt x="600" y="180"/>
                    </a:lnTo>
                    <a:lnTo>
                      <a:pt x="593" y="196"/>
                    </a:lnTo>
                    <a:lnTo>
                      <a:pt x="593" y="220"/>
                    </a:lnTo>
                    <a:lnTo>
                      <a:pt x="581" y="232"/>
                    </a:lnTo>
                    <a:lnTo>
                      <a:pt x="562" y="246"/>
                    </a:lnTo>
                    <a:lnTo>
                      <a:pt x="557" y="258"/>
                    </a:lnTo>
                    <a:lnTo>
                      <a:pt x="557" y="267"/>
                    </a:lnTo>
                    <a:lnTo>
                      <a:pt x="572" y="284"/>
                    </a:lnTo>
                    <a:lnTo>
                      <a:pt x="605" y="293"/>
                    </a:lnTo>
                    <a:lnTo>
                      <a:pt x="635" y="298"/>
                    </a:lnTo>
                    <a:lnTo>
                      <a:pt x="647" y="312"/>
                    </a:lnTo>
                    <a:lnTo>
                      <a:pt x="649" y="326"/>
                    </a:lnTo>
                    <a:lnTo>
                      <a:pt x="647" y="340"/>
                    </a:lnTo>
                    <a:lnTo>
                      <a:pt x="635" y="359"/>
                    </a:lnTo>
                    <a:lnTo>
                      <a:pt x="628" y="378"/>
                    </a:lnTo>
                    <a:lnTo>
                      <a:pt x="619" y="397"/>
                    </a:lnTo>
                    <a:lnTo>
                      <a:pt x="614" y="416"/>
                    </a:lnTo>
                    <a:lnTo>
                      <a:pt x="619" y="433"/>
                    </a:lnTo>
                    <a:lnTo>
                      <a:pt x="628" y="442"/>
                    </a:lnTo>
                    <a:lnTo>
                      <a:pt x="628" y="451"/>
                    </a:lnTo>
                    <a:lnTo>
                      <a:pt x="626" y="463"/>
                    </a:lnTo>
                    <a:lnTo>
                      <a:pt x="619" y="466"/>
                    </a:lnTo>
                    <a:lnTo>
                      <a:pt x="602" y="470"/>
                    </a:lnTo>
                    <a:lnTo>
                      <a:pt x="590" y="477"/>
                    </a:lnTo>
                    <a:lnTo>
                      <a:pt x="588" y="494"/>
                    </a:lnTo>
                    <a:lnTo>
                      <a:pt x="593" y="515"/>
                    </a:lnTo>
                    <a:lnTo>
                      <a:pt x="602" y="534"/>
                    </a:lnTo>
                    <a:lnTo>
                      <a:pt x="621" y="560"/>
                    </a:lnTo>
                    <a:lnTo>
                      <a:pt x="640" y="577"/>
                    </a:lnTo>
                    <a:lnTo>
                      <a:pt x="668" y="588"/>
                    </a:lnTo>
                    <a:lnTo>
                      <a:pt x="690" y="593"/>
                    </a:lnTo>
                    <a:lnTo>
                      <a:pt x="720" y="603"/>
                    </a:lnTo>
                    <a:lnTo>
                      <a:pt x="735" y="610"/>
                    </a:lnTo>
                    <a:lnTo>
                      <a:pt x="758" y="619"/>
                    </a:lnTo>
                    <a:lnTo>
                      <a:pt x="782" y="629"/>
                    </a:lnTo>
                    <a:lnTo>
                      <a:pt x="805" y="636"/>
                    </a:lnTo>
                    <a:lnTo>
                      <a:pt x="808" y="638"/>
                    </a:lnTo>
                    <a:lnTo>
                      <a:pt x="824" y="652"/>
                    </a:lnTo>
                    <a:lnTo>
                      <a:pt x="834" y="666"/>
                    </a:lnTo>
                    <a:lnTo>
                      <a:pt x="846" y="676"/>
                    </a:lnTo>
                    <a:lnTo>
                      <a:pt x="872" y="678"/>
                    </a:lnTo>
                    <a:lnTo>
                      <a:pt x="888" y="676"/>
                    </a:lnTo>
                    <a:lnTo>
                      <a:pt x="890" y="676"/>
                    </a:lnTo>
                    <a:lnTo>
                      <a:pt x="900" y="662"/>
                    </a:lnTo>
                    <a:lnTo>
                      <a:pt x="914" y="657"/>
                    </a:lnTo>
                    <a:lnTo>
                      <a:pt x="926" y="655"/>
                    </a:lnTo>
                    <a:lnTo>
                      <a:pt x="935" y="662"/>
                    </a:lnTo>
                    <a:lnTo>
                      <a:pt x="938" y="674"/>
                    </a:lnTo>
                    <a:lnTo>
                      <a:pt x="938" y="697"/>
                    </a:lnTo>
                    <a:lnTo>
                      <a:pt x="938" y="721"/>
                    </a:lnTo>
                    <a:lnTo>
                      <a:pt x="942" y="733"/>
                    </a:lnTo>
                    <a:lnTo>
                      <a:pt x="954" y="751"/>
                    </a:lnTo>
                    <a:lnTo>
                      <a:pt x="961" y="770"/>
                    </a:lnTo>
                    <a:lnTo>
                      <a:pt x="964" y="782"/>
                    </a:lnTo>
                    <a:lnTo>
                      <a:pt x="959" y="801"/>
                    </a:lnTo>
                    <a:lnTo>
                      <a:pt x="954" y="815"/>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28" name="Freeform 27"/>
              <p:cNvSpPr>
                <a:spLocks/>
              </p:cNvSpPr>
              <p:nvPr/>
            </p:nvSpPr>
            <p:spPr bwMode="gray">
              <a:xfrm>
                <a:off x="-3659188" y="2124075"/>
                <a:ext cx="1803400" cy="1323975"/>
              </a:xfrm>
              <a:custGeom>
                <a:avLst/>
                <a:gdLst/>
                <a:ahLst/>
                <a:cxnLst>
                  <a:cxn ang="0">
                    <a:pos x="411" y="2"/>
                  </a:cxn>
                  <a:cxn ang="0">
                    <a:pos x="357" y="23"/>
                  </a:cxn>
                  <a:cxn ang="0">
                    <a:pos x="290" y="2"/>
                  </a:cxn>
                  <a:cxn ang="0">
                    <a:pos x="253" y="49"/>
                  </a:cxn>
                  <a:cxn ang="0">
                    <a:pos x="177" y="33"/>
                  </a:cxn>
                  <a:cxn ang="0">
                    <a:pos x="92" y="68"/>
                  </a:cxn>
                  <a:cxn ang="0">
                    <a:pos x="47" y="137"/>
                  </a:cxn>
                  <a:cxn ang="0">
                    <a:pos x="59" y="248"/>
                  </a:cxn>
                  <a:cxn ang="0">
                    <a:pos x="59" y="380"/>
                  </a:cxn>
                  <a:cxn ang="0">
                    <a:pos x="113" y="413"/>
                  </a:cxn>
                  <a:cxn ang="0">
                    <a:pos x="146" y="342"/>
                  </a:cxn>
                  <a:cxn ang="0">
                    <a:pos x="198" y="359"/>
                  </a:cxn>
                  <a:cxn ang="0">
                    <a:pos x="241" y="392"/>
                  </a:cxn>
                  <a:cxn ang="0">
                    <a:pos x="248" y="470"/>
                  </a:cxn>
                  <a:cxn ang="0">
                    <a:pos x="146" y="512"/>
                  </a:cxn>
                  <a:cxn ang="0">
                    <a:pos x="94" y="534"/>
                  </a:cxn>
                  <a:cxn ang="0">
                    <a:pos x="118" y="604"/>
                  </a:cxn>
                  <a:cxn ang="0">
                    <a:pos x="64" y="671"/>
                  </a:cxn>
                  <a:cxn ang="0">
                    <a:pos x="7" y="685"/>
                  </a:cxn>
                  <a:cxn ang="0">
                    <a:pos x="7" y="760"/>
                  </a:cxn>
                  <a:cxn ang="0">
                    <a:pos x="153" y="834"/>
                  </a:cxn>
                  <a:cxn ang="0">
                    <a:pos x="276" y="727"/>
                  </a:cxn>
                  <a:cxn ang="0">
                    <a:pos x="399" y="715"/>
                  </a:cxn>
                  <a:cxn ang="0">
                    <a:pos x="543" y="604"/>
                  </a:cxn>
                  <a:cxn ang="0">
                    <a:pos x="602" y="557"/>
                  </a:cxn>
                  <a:cxn ang="0">
                    <a:pos x="709" y="534"/>
                  </a:cxn>
                  <a:cxn ang="0">
                    <a:pos x="810" y="484"/>
                  </a:cxn>
                  <a:cxn ang="0">
                    <a:pos x="900" y="427"/>
                  </a:cxn>
                  <a:cxn ang="0">
                    <a:pos x="876" y="363"/>
                  </a:cxn>
                  <a:cxn ang="0">
                    <a:pos x="933" y="347"/>
                  </a:cxn>
                  <a:cxn ang="0">
                    <a:pos x="992" y="404"/>
                  </a:cxn>
                  <a:cxn ang="0">
                    <a:pos x="1023" y="439"/>
                  </a:cxn>
                  <a:cxn ang="0">
                    <a:pos x="1042" y="491"/>
                  </a:cxn>
                  <a:cxn ang="0">
                    <a:pos x="1110" y="432"/>
                  </a:cxn>
                  <a:cxn ang="0">
                    <a:pos x="1131" y="248"/>
                  </a:cxn>
                  <a:cxn ang="0">
                    <a:pos x="1110" y="151"/>
                  </a:cxn>
                  <a:cxn ang="0">
                    <a:pos x="1122" y="94"/>
                  </a:cxn>
                  <a:cxn ang="0">
                    <a:pos x="1046" y="49"/>
                  </a:cxn>
                  <a:cxn ang="0">
                    <a:pos x="994" y="33"/>
                  </a:cxn>
                  <a:cxn ang="0">
                    <a:pos x="952" y="30"/>
                  </a:cxn>
                  <a:cxn ang="0">
                    <a:pos x="883" y="78"/>
                  </a:cxn>
                  <a:cxn ang="0">
                    <a:pos x="838" y="64"/>
                  </a:cxn>
                  <a:cxn ang="0">
                    <a:pos x="779" y="82"/>
                  </a:cxn>
                  <a:cxn ang="0">
                    <a:pos x="753" y="156"/>
                  </a:cxn>
                  <a:cxn ang="0">
                    <a:pos x="742" y="137"/>
                  </a:cxn>
                  <a:cxn ang="0">
                    <a:pos x="704" y="163"/>
                  </a:cxn>
                  <a:cxn ang="0">
                    <a:pos x="638" y="191"/>
                  </a:cxn>
                  <a:cxn ang="0">
                    <a:pos x="586" y="165"/>
                  </a:cxn>
                  <a:cxn ang="0">
                    <a:pos x="557" y="137"/>
                  </a:cxn>
                  <a:cxn ang="0">
                    <a:pos x="522" y="158"/>
                  </a:cxn>
                  <a:cxn ang="0">
                    <a:pos x="472" y="158"/>
                  </a:cxn>
                  <a:cxn ang="0">
                    <a:pos x="449" y="130"/>
                  </a:cxn>
                  <a:cxn ang="0">
                    <a:pos x="468" y="87"/>
                  </a:cxn>
                  <a:cxn ang="0">
                    <a:pos x="458" y="56"/>
                  </a:cxn>
                  <a:cxn ang="0">
                    <a:pos x="465" y="16"/>
                  </a:cxn>
                </a:cxnLst>
                <a:rect l="0" t="0" r="r" b="b"/>
                <a:pathLst>
                  <a:path w="1136" h="834">
                    <a:moveTo>
                      <a:pt x="465" y="16"/>
                    </a:moveTo>
                    <a:lnTo>
                      <a:pt x="444" y="7"/>
                    </a:lnTo>
                    <a:lnTo>
                      <a:pt x="411" y="2"/>
                    </a:lnTo>
                    <a:lnTo>
                      <a:pt x="385" y="4"/>
                    </a:lnTo>
                    <a:lnTo>
                      <a:pt x="371" y="19"/>
                    </a:lnTo>
                    <a:lnTo>
                      <a:pt x="357" y="23"/>
                    </a:lnTo>
                    <a:lnTo>
                      <a:pt x="342" y="7"/>
                    </a:lnTo>
                    <a:lnTo>
                      <a:pt x="314" y="0"/>
                    </a:lnTo>
                    <a:lnTo>
                      <a:pt x="290" y="2"/>
                    </a:lnTo>
                    <a:lnTo>
                      <a:pt x="264" y="9"/>
                    </a:lnTo>
                    <a:lnTo>
                      <a:pt x="257" y="33"/>
                    </a:lnTo>
                    <a:lnTo>
                      <a:pt x="253" y="49"/>
                    </a:lnTo>
                    <a:lnTo>
                      <a:pt x="236" y="45"/>
                    </a:lnTo>
                    <a:lnTo>
                      <a:pt x="220" y="33"/>
                    </a:lnTo>
                    <a:lnTo>
                      <a:pt x="177" y="33"/>
                    </a:lnTo>
                    <a:lnTo>
                      <a:pt x="144" y="35"/>
                    </a:lnTo>
                    <a:lnTo>
                      <a:pt x="111" y="56"/>
                    </a:lnTo>
                    <a:lnTo>
                      <a:pt x="92" y="68"/>
                    </a:lnTo>
                    <a:lnTo>
                      <a:pt x="73" y="78"/>
                    </a:lnTo>
                    <a:lnTo>
                      <a:pt x="59" y="97"/>
                    </a:lnTo>
                    <a:lnTo>
                      <a:pt x="47" y="137"/>
                    </a:lnTo>
                    <a:lnTo>
                      <a:pt x="52" y="198"/>
                    </a:lnTo>
                    <a:lnTo>
                      <a:pt x="57" y="224"/>
                    </a:lnTo>
                    <a:lnTo>
                      <a:pt x="59" y="248"/>
                    </a:lnTo>
                    <a:lnTo>
                      <a:pt x="71" y="290"/>
                    </a:lnTo>
                    <a:lnTo>
                      <a:pt x="64" y="352"/>
                    </a:lnTo>
                    <a:lnTo>
                      <a:pt x="59" y="380"/>
                    </a:lnTo>
                    <a:lnTo>
                      <a:pt x="68" y="401"/>
                    </a:lnTo>
                    <a:lnTo>
                      <a:pt x="90" y="418"/>
                    </a:lnTo>
                    <a:lnTo>
                      <a:pt x="113" y="413"/>
                    </a:lnTo>
                    <a:lnTo>
                      <a:pt x="132" y="394"/>
                    </a:lnTo>
                    <a:lnTo>
                      <a:pt x="142" y="378"/>
                    </a:lnTo>
                    <a:lnTo>
                      <a:pt x="146" y="342"/>
                    </a:lnTo>
                    <a:lnTo>
                      <a:pt x="168" y="333"/>
                    </a:lnTo>
                    <a:lnTo>
                      <a:pt x="191" y="338"/>
                    </a:lnTo>
                    <a:lnTo>
                      <a:pt x="198" y="359"/>
                    </a:lnTo>
                    <a:lnTo>
                      <a:pt x="198" y="378"/>
                    </a:lnTo>
                    <a:lnTo>
                      <a:pt x="208" y="387"/>
                    </a:lnTo>
                    <a:lnTo>
                      <a:pt x="241" y="392"/>
                    </a:lnTo>
                    <a:lnTo>
                      <a:pt x="255" y="408"/>
                    </a:lnTo>
                    <a:lnTo>
                      <a:pt x="257" y="444"/>
                    </a:lnTo>
                    <a:lnTo>
                      <a:pt x="248" y="470"/>
                    </a:lnTo>
                    <a:lnTo>
                      <a:pt x="212" y="484"/>
                    </a:lnTo>
                    <a:lnTo>
                      <a:pt x="182" y="498"/>
                    </a:lnTo>
                    <a:lnTo>
                      <a:pt x="146" y="512"/>
                    </a:lnTo>
                    <a:lnTo>
                      <a:pt x="120" y="515"/>
                    </a:lnTo>
                    <a:lnTo>
                      <a:pt x="106" y="517"/>
                    </a:lnTo>
                    <a:lnTo>
                      <a:pt x="94" y="534"/>
                    </a:lnTo>
                    <a:lnTo>
                      <a:pt x="99" y="560"/>
                    </a:lnTo>
                    <a:lnTo>
                      <a:pt x="113" y="586"/>
                    </a:lnTo>
                    <a:lnTo>
                      <a:pt x="118" y="604"/>
                    </a:lnTo>
                    <a:lnTo>
                      <a:pt x="108" y="626"/>
                    </a:lnTo>
                    <a:lnTo>
                      <a:pt x="85" y="652"/>
                    </a:lnTo>
                    <a:lnTo>
                      <a:pt x="64" y="671"/>
                    </a:lnTo>
                    <a:lnTo>
                      <a:pt x="42" y="673"/>
                    </a:lnTo>
                    <a:lnTo>
                      <a:pt x="23" y="671"/>
                    </a:lnTo>
                    <a:lnTo>
                      <a:pt x="7" y="685"/>
                    </a:lnTo>
                    <a:lnTo>
                      <a:pt x="0" y="708"/>
                    </a:lnTo>
                    <a:lnTo>
                      <a:pt x="5" y="746"/>
                    </a:lnTo>
                    <a:lnTo>
                      <a:pt x="7" y="760"/>
                    </a:lnTo>
                    <a:lnTo>
                      <a:pt x="38" y="798"/>
                    </a:lnTo>
                    <a:lnTo>
                      <a:pt x="78" y="831"/>
                    </a:lnTo>
                    <a:lnTo>
                      <a:pt x="153" y="834"/>
                    </a:lnTo>
                    <a:lnTo>
                      <a:pt x="184" y="798"/>
                    </a:lnTo>
                    <a:lnTo>
                      <a:pt x="224" y="765"/>
                    </a:lnTo>
                    <a:lnTo>
                      <a:pt x="276" y="727"/>
                    </a:lnTo>
                    <a:lnTo>
                      <a:pt x="319" y="723"/>
                    </a:lnTo>
                    <a:lnTo>
                      <a:pt x="366" y="732"/>
                    </a:lnTo>
                    <a:lnTo>
                      <a:pt x="399" y="715"/>
                    </a:lnTo>
                    <a:lnTo>
                      <a:pt x="442" y="668"/>
                    </a:lnTo>
                    <a:lnTo>
                      <a:pt x="486" y="626"/>
                    </a:lnTo>
                    <a:lnTo>
                      <a:pt x="543" y="604"/>
                    </a:lnTo>
                    <a:lnTo>
                      <a:pt x="583" y="590"/>
                    </a:lnTo>
                    <a:lnTo>
                      <a:pt x="597" y="574"/>
                    </a:lnTo>
                    <a:lnTo>
                      <a:pt x="602" y="557"/>
                    </a:lnTo>
                    <a:lnTo>
                      <a:pt x="619" y="548"/>
                    </a:lnTo>
                    <a:lnTo>
                      <a:pt x="661" y="545"/>
                    </a:lnTo>
                    <a:lnTo>
                      <a:pt x="709" y="534"/>
                    </a:lnTo>
                    <a:lnTo>
                      <a:pt x="746" y="517"/>
                    </a:lnTo>
                    <a:lnTo>
                      <a:pt x="768" y="491"/>
                    </a:lnTo>
                    <a:lnTo>
                      <a:pt x="810" y="484"/>
                    </a:lnTo>
                    <a:lnTo>
                      <a:pt x="843" y="484"/>
                    </a:lnTo>
                    <a:lnTo>
                      <a:pt x="872" y="453"/>
                    </a:lnTo>
                    <a:lnTo>
                      <a:pt x="900" y="427"/>
                    </a:lnTo>
                    <a:lnTo>
                      <a:pt x="905" y="404"/>
                    </a:lnTo>
                    <a:lnTo>
                      <a:pt x="893" y="382"/>
                    </a:lnTo>
                    <a:lnTo>
                      <a:pt x="876" y="363"/>
                    </a:lnTo>
                    <a:lnTo>
                      <a:pt x="879" y="354"/>
                    </a:lnTo>
                    <a:lnTo>
                      <a:pt x="900" y="342"/>
                    </a:lnTo>
                    <a:lnTo>
                      <a:pt x="933" y="347"/>
                    </a:lnTo>
                    <a:lnTo>
                      <a:pt x="964" y="361"/>
                    </a:lnTo>
                    <a:lnTo>
                      <a:pt x="983" y="378"/>
                    </a:lnTo>
                    <a:lnTo>
                      <a:pt x="992" y="404"/>
                    </a:lnTo>
                    <a:lnTo>
                      <a:pt x="994" y="420"/>
                    </a:lnTo>
                    <a:lnTo>
                      <a:pt x="1009" y="430"/>
                    </a:lnTo>
                    <a:lnTo>
                      <a:pt x="1023" y="439"/>
                    </a:lnTo>
                    <a:lnTo>
                      <a:pt x="1025" y="453"/>
                    </a:lnTo>
                    <a:lnTo>
                      <a:pt x="1023" y="472"/>
                    </a:lnTo>
                    <a:lnTo>
                      <a:pt x="1042" y="491"/>
                    </a:lnTo>
                    <a:lnTo>
                      <a:pt x="1065" y="500"/>
                    </a:lnTo>
                    <a:lnTo>
                      <a:pt x="1086" y="486"/>
                    </a:lnTo>
                    <a:lnTo>
                      <a:pt x="1110" y="432"/>
                    </a:lnTo>
                    <a:lnTo>
                      <a:pt x="1122" y="349"/>
                    </a:lnTo>
                    <a:lnTo>
                      <a:pt x="1127" y="290"/>
                    </a:lnTo>
                    <a:lnTo>
                      <a:pt x="1131" y="248"/>
                    </a:lnTo>
                    <a:lnTo>
                      <a:pt x="1136" y="215"/>
                    </a:lnTo>
                    <a:lnTo>
                      <a:pt x="1124" y="177"/>
                    </a:lnTo>
                    <a:lnTo>
                      <a:pt x="1110" y="151"/>
                    </a:lnTo>
                    <a:lnTo>
                      <a:pt x="1108" y="134"/>
                    </a:lnTo>
                    <a:lnTo>
                      <a:pt x="1120" y="113"/>
                    </a:lnTo>
                    <a:lnTo>
                      <a:pt x="1122" y="94"/>
                    </a:lnTo>
                    <a:lnTo>
                      <a:pt x="1108" y="75"/>
                    </a:lnTo>
                    <a:lnTo>
                      <a:pt x="1079" y="56"/>
                    </a:lnTo>
                    <a:lnTo>
                      <a:pt x="1046" y="49"/>
                    </a:lnTo>
                    <a:lnTo>
                      <a:pt x="1025" y="38"/>
                    </a:lnTo>
                    <a:lnTo>
                      <a:pt x="1011" y="38"/>
                    </a:lnTo>
                    <a:lnTo>
                      <a:pt x="994" y="33"/>
                    </a:lnTo>
                    <a:lnTo>
                      <a:pt x="978" y="30"/>
                    </a:lnTo>
                    <a:lnTo>
                      <a:pt x="964" y="28"/>
                    </a:lnTo>
                    <a:lnTo>
                      <a:pt x="952" y="30"/>
                    </a:lnTo>
                    <a:lnTo>
                      <a:pt x="923" y="52"/>
                    </a:lnTo>
                    <a:lnTo>
                      <a:pt x="897" y="68"/>
                    </a:lnTo>
                    <a:lnTo>
                      <a:pt x="883" y="78"/>
                    </a:lnTo>
                    <a:lnTo>
                      <a:pt x="864" y="78"/>
                    </a:lnTo>
                    <a:lnTo>
                      <a:pt x="853" y="71"/>
                    </a:lnTo>
                    <a:lnTo>
                      <a:pt x="838" y="64"/>
                    </a:lnTo>
                    <a:lnTo>
                      <a:pt x="824" y="61"/>
                    </a:lnTo>
                    <a:lnTo>
                      <a:pt x="805" y="68"/>
                    </a:lnTo>
                    <a:lnTo>
                      <a:pt x="779" y="82"/>
                    </a:lnTo>
                    <a:lnTo>
                      <a:pt x="770" y="101"/>
                    </a:lnTo>
                    <a:lnTo>
                      <a:pt x="763" y="125"/>
                    </a:lnTo>
                    <a:lnTo>
                      <a:pt x="753" y="156"/>
                    </a:lnTo>
                    <a:lnTo>
                      <a:pt x="746" y="177"/>
                    </a:lnTo>
                    <a:lnTo>
                      <a:pt x="744" y="149"/>
                    </a:lnTo>
                    <a:lnTo>
                      <a:pt x="742" y="137"/>
                    </a:lnTo>
                    <a:lnTo>
                      <a:pt x="727" y="137"/>
                    </a:lnTo>
                    <a:lnTo>
                      <a:pt x="718" y="149"/>
                    </a:lnTo>
                    <a:lnTo>
                      <a:pt x="704" y="163"/>
                    </a:lnTo>
                    <a:lnTo>
                      <a:pt x="685" y="177"/>
                    </a:lnTo>
                    <a:lnTo>
                      <a:pt x="664" y="184"/>
                    </a:lnTo>
                    <a:lnTo>
                      <a:pt x="638" y="191"/>
                    </a:lnTo>
                    <a:lnTo>
                      <a:pt x="614" y="191"/>
                    </a:lnTo>
                    <a:lnTo>
                      <a:pt x="595" y="182"/>
                    </a:lnTo>
                    <a:lnTo>
                      <a:pt x="586" y="165"/>
                    </a:lnTo>
                    <a:lnTo>
                      <a:pt x="579" y="146"/>
                    </a:lnTo>
                    <a:lnTo>
                      <a:pt x="569" y="137"/>
                    </a:lnTo>
                    <a:lnTo>
                      <a:pt x="557" y="137"/>
                    </a:lnTo>
                    <a:lnTo>
                      <a:pt x="548" y="137"/>
                    </a:lnTo>
                    <a:lnTo>
                      <a:pt x="536" y="149"/>
                    </a:lnTo>
                    <a:lnTo>
                      <a:pt x="522" y="158"/>
                    </a:lnTo>
                    <a:lnTo>
                      <a:pt x="508" y="163"/>
                    </a:lnTo>
                    <a:lnTo>
                      <a:pt x="486" y="165"/>
                    </a:lnTo>
                    <a:lnTo>
                      <a:pt x="472" y="158"/>
                    </a:lnTo>
                    <a:lnTo>
                      <a:pt x="463" y="144"/>
                    </a:lnTo>
                    <a:lnTo>
                      <a:pt x="458" y="137"/>
                    </a:lnTo>
                    <a:lnTo>
                      <a:pt x="449" y="130"/>
                    </a:lnTo>
                    <a:lnTo>
                      <a:pt x="458" y="118"/>
                    </a:lnTo>
                    <a:lnTo>
                      <a:pt x="468" y="104"/>
                    </a:lnTo>
                    <a:lnTo>
                      <a:pt x="468" y="87"/>
                    </a:lnTo>
                    <a:lnTo>
                      <a:pt x="460" y="78"/>
                    </a:lnTo>
                    <a:lnTo>
                      <a:pt x="458" y="68"/>
                    </a:lnTo>
                    <a:lnTo>
                      <a:pt x="458" y="56"/>
                    </a:lnTo>
                    <a:lnTo>
                      <a:pt x="465" y="45"/>
                    </a:lnTo>
                    <a:lnTo>
                      <a:pt x="468" y="30"/>
                    </a:lnTo>
                    <a:lnTo>
                      <a:pt x="465" y="16"/>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29" name="Freeform 28"/>
              <p:cNvSpPr>
                <a:spLocks/>
              </p:cNvSpPr>
              <p:nvPr/>
            </p:nvSpPr>
            <p:spPr bwMode="gray">
              <a:xfrm>
                <a:off x="-4889500" y="2146300"/>
                <a:ext cx="1638300" cy="1289050"/>
              </a:xfrm>
              <a:custGeom>
                <a:avLst/>
                <a:gdLst/>
                <a:ahLst/>
                <a:cxnLst>
                  <a:cxn ang="0">
                    <a:pos x="312" y="33"/>
                  </a:cxn>
                  <a:cxn ang="0">
                    <a:pos x="305" y="54"/>
                  </a:cxn>
                  <a:cxn ang="0">
                    <a:pos x="243" y="71"/>
                  </a:cxn>
                  <a:cxn ang="0">
                    <a:pos x="198" y="68"/>
                  </a:cxn>
                  <a:cxn ang="0">
                    <a:pos x="149" y="78"/>
                  </a:cxn>
                  <a:cxn ang="0">
                    <a:pos x="111" y="113"/>
                  </a:cxn>
                  <a:cxn ang="0">
                    <a:pos x="64" y="125"/>
                  </a:cxn>
                  <a:cxn ang="0">
                    <a:pos x="7" y="156"/>
                  </a:cxn>
                  <a:cxn ang="0">
                    <a:pos x="19" y="205"/>
                  </a:cxn>
                  <a:cxn ang="0">
                    <a:pos x="69" y="222"/>
                  </a:cxn>
                  <a:cxn ang="0">
                    <a:pos x="83" y="288"/>
                  </a:cxn>
                  <a:cxn ang="0">
                    <a:pos x="94" y="357"/>
                  </a:cxn>
                  <a:cxn ang="0">
                    <a:pos x="76" y="394"/>
                  </a:cxn>
                  <a:cxn ang="0">
                    <a:pos x="31" y="491"/>
                  </a:cxn>
                  <a:cxn ang="0">
                    <a:pos x="2" y="564"/>
                  </a:cxn>
                  <a:cxn ang="0">
                    <a:pos x="26" y="614"/>
                  </a:cxn>
                  <a:cxn ang="0">
                    <a:pos x="57" y="567"/>
                  </a:cxn>
                  <a:cxn ang="0">
                    <a:pos x="59" y="621"/>
                  </a:cxn>
                  <a:cxn ang="0">
                    <a:pos x="109" y="633"/>
                  </a:cxn>
                  <a:cxn ang="0">
                    <a:pos x="149" y="659"/>
                  </a:cxn>
                  <a:cxn ang="0">
                    <a:pos x="222" y="749"/>
                  </a:cxn>
                  <a:cxn ang="0">
                    <a:pos x="267" y="794"/>
                  </a:cxn>
                  <a:cxn ang="0">
                    <a:pos x="317" y="812"/>
                  </a:cxn>
                  <a:cxn ang="0">
                    <a:pos x="314" y="763"/>
                  </a:cxn>
                  <a:cxn ang="0">
                    <a:pos x="357" y="744"/>
                  </a:cxn>
                  <a:cxn ang="0">
                    <a:pos x="416" y="756"/>
                  </a:cxn>
                  <a:cxn ang="0">
                    <a:pos x="477" y="782"/>
                  </a:cxn>
                  <a:cxn ang="0">
                    <a:pos x="522" y="775"/>
                  </a:cxn>
                  <a:cxn ang="0">
                    <a:pos x="527" y="680"/>
                  </a:cxn>
                  <a:cxn ang="0">
                    <a:pos x="581" y="692"/>
                  </a:cxn>
                  <a:cxn ang="0">
                    <a:pos x="628" y="732"/>
                  </a:cxn>
                  <a:cxn ang="0">
                    <a:pos x="716" y="730"/>
                  </a:cxn>
                  <a:cxn ang="0">
                    <a:pos x="782" y="746"/>
                  </a:cxn>
                  <a:cxn ang="0">
                    <a:pos x="798" y="657"/>
                  </a:cxn>
                  <a:cxn ang="0">
                    <a:pos x="860" y="638"/>
                  </a:cxn>
                  <a:cxn ang="0">
                    <a:pos x="888" y="572"/>
                  </a:cxn>
                  <a:cxn ang="0">
                    <a:pos x="881" y="503"/>
                  </a:cxn>
                  <a:cxn ang="0">
                    <a:pos x="957" y="484"/>
                  </a:cxn>
                  <a:cxn ang="0">
                    <a:pos x="1032" y="430"/>
                  </a:cxn>
                  <a:cxn ang="0">
                    <a:pos x="983" y="373"/>
                  </a:cxn>
                  <a:cxn ang="0">
                    <a:pos x="966" y="324"/>
                  </a:cxn>
                  <a:cxn ang="0">
                    <a:pos x="917" y="364"/>
                  </a:cxn>
                  <a:cxn ang="0">
                    <a:pos x="865" y="404"/>
                  </a:cxn>
                  <a:cxn ang="0">
                    <a:pos x="815" y="368"/>
                  </a:cxn>
                  <a:cxn ang="0">
                    <a:pos x="761" y="364"/>
                  </a:cxn>
                  <a:cxn ang="0">
                    <a:pos x="695" y="371"/>
                  </a:cxn>
                  <a:cxn ang="0">
                    <a:pos x="640" y="352"/>
                  </a:cxn>
                  <a:cxn ang="0">
                    <a:pos x="586" y="281"/>
                  </a:cxn>
                  <a:cxn ang="0">
                    <a:pos x="609" y="227"/>
                  </a:cxn>
                  <a:cxn ang="0">
                    <a:pos x="572" y="177"/>
                  </a:cxn>
                  <a:cxn ang="0">
                    <a:pos x="555" y="132"/>
                  </a:cxn>
                  <a:cxn ang="0">
                    <a:pos x="463" y="130"/>
                  </a:cxn>
                  <a:cxn ang="0">
                    <a:pos x="409" y="68"/>
                  </a:cxn>
                  <a:cxn ang="0">
                    <a:pos x="364" y="16"/>
                  </a:cxn>
                  <a:cxn ang="0">
                    <a:pos x="302" y="12"/>
                  </a:cxn>
                </a:cxnLst>
                <a:rect l="0" t="0" r="r" b="b"/>
                <a:pathLst>
                  <a:path w="1032" h="812">
                    <a:moveTo>
                      <a:pt x="302" y="12"/>
                    </a:moveTo>
                    <a:lnTo>
                      <a:pt x="305" y="24"/>
                    </a:lnTo>
                    <a:lnTo>
                      <a:pt x="312" y="33"/>
                    </a:lnTo>
                    <a:lnTo>
                      <a:pt x="317" y="42"/>
                    </a:lnTo>
                    <a:lnTo>
                      <a:pt x="314" y="52"/>
                    </a:lnTo>
                    <a:lnTo>
                      <a:pt x="305" y="54"/>
                    </a:lnTo>
                    <a:lnTo>
                      <a:pt x="288" y="54"/>
                    </a:lnTo>
                    <a:lnTo>
                      <a:pt x="274" y="57"/>
                    </a:lnTo>
                    <a:lnTo>
                      <a:pt x="243" y="71"/>
                    </a:lnTo>
                    <a:lnTo>
                      <a:pt x="224" y="78"/>
                    </a:lnTo>
                    <a:lnTo>
                      <a:pt x="213" y="75"/>
                    </a:lnTo>
                    <a:lnTo>
                      <a:pt x="198" y="68"/>
                    </a:lnTo>
                    <a:lnTo>
                      <a:pt x="182" y="66"/>
                    </a:lnTo>
                    <a:lnTo>
                      <a:pt x="163" y="68"/>
                    </a:lnTo>
                    <a:lnTo>
                      <a:pt x="149" y="78"/>
                    </a:lnTo>
                    <a:lnTo>
                      <a:pt x="137" y="92"/>
                    </a:lnTo>
                    <a:lnTo>
                      <a:pt x="123" y="106"/>
                    </a:lnTo>
                    <a:lnTo>
                      <a:pt x="111" y="113"/>
                    </a:lnTo>
                    <a:lnTo>
                      <a:pt x="97" y="113"/>
                    </a:lnTo>
                    <a:lnTo>
                      <a:pt x="80" y="118"/>
                    </a:lnTo>
                    <a:lnTo>
                      <a:pt x="64" y="125"/>
                    </a:lnTo>
                    <a:lnTo>
                      <a:pt x="33" y="144"/>
                    </a:lnTo>
                    <a:lnTo>
                      <a:pt x="21" y="153"/>
                    </a:lnTo>
                    <a:lnTo>
                      <a:pt x="7" y="156"/>
                    </a:lnTo>
                    <a:lnTo>
                      <a:pt x="5" y="170"/>
                    </a:lnTo>
                    <a:lnTo>
                      <a:pt x="7" y="191"/>
                    </a:lnTo>
                    <a:lnTo>
                      <a:pt x="19" y="205"/>
                    </a:lnTo>
                    <a:lnTo>
                      <a:pt x="33" y="215"/>
                    </a:lnTo>
                    <a:lnTo>
                      <a:pt x="54" y="217"/>
                    </a:lnTo>
                    <a:lnTo>
                      <a:pt x="69" y="222"/>
                    </a:lnTo>
                    <a:lnTo>
                      <a:pt x="76" y="234"/>
                    </a:lnTo>
                    <a:lnTo>
                      <a:pt x="80" y="255"/>
                    </a:lnTo>
                    <a:lnTo>
                      <a:pt x="83" y="288"/>
                    </a:lnTo>
                    <a:lnTo>
                      <a:pt x="80" y="321"/>
                    </a:lnTo>
                    <a:lnTo>
                      <a:pt x="83" y="342"/>
                    </a:lnTo>
                    <a:lnTo>
                      <a:pt x="94" y="357"/>
                    </a:lnTo>
                    <a:lnTo>
                      <a:pt x="97" y="368"/>
                    </a:lnTo>
                    <a:lnTo>
                      <a:pt x="92" y="380"/>
                    </a:lnTo>
                    <a:lnTo>
                      <a:pt x="76" y="394"/>
                    </a:lnTo>
                    <a:lnTo>
                      <a:pt x="54" y="416"/>
                    </a:lnTo>
                    <a:lnTo>
                      <a:pt x="33" y="449"/>
                    </a:lnTo>
                    <a:lnTo>
                      <a:pt x="31" y="491"/>
                    </a:lnTo>
                    <a:lnTo>
                      <a:pt x="26" y="524"/>
                    </a:lnTo>
                    <a:lnTo>
                      <a:pt x="14" y="546"/>
                    </a:lnTo>
                    <a:lnTo>
                      <a:pt x="2" y="564"/>
                    </a:lnTo>
                    <a:lnTo>
                      <a:pt x="0" y="593"/>
                    </a:lnTo>
                    <a:lnTo>
                      <a:pt x="9" y="609"/>
                    </a:lnTo>
                    <a:lnTo>
                      <a:pt x="26" y="614"/>
                    </a:lnTo>
                    <a:lnTo>
                      <a:pt x="45" y="595"/>
                    </a:lnTo>
                    <a:lnTo>
                      <a:pt x="47" y="574"/>
                    </a:lnTo>
                    <a:lnTo>
                      <a:pt x="57" y="567"/>
                    </a:lnTo>
                    <a:lnTo>
                      <a:pt x="64" y="576"/>
                    </a:lnTo>
                    <a:lnTo>
                      <a:pt x="59" y="598"/>
                    </a:lnTo>
                    <a:lnTo>
                      <a:pt x="59" y="621"/>
                    </a:lnTo>
                    <a:lnTo>
                      <a:pt x="64" y="631"/>
                    </a:lnTo>
                    <a:lnTo>
                      <a:pt x="87" y="635"/>
                    </a:lnTo>
                    <a:lnTo>
                      <a:pt x="109" y="633"/>
                    </a:lnTo>
                    <a:lnTo>
                      <a:pt x="123" y="628"/>
                    </a:lnTo>
                    <a:lnTo>
                      <a:pt x="135" y="633"/>
                    </a:lnTo>
                    <a:lnTo>
                      <a:pt x="149" y="659"/>
                    </a:lnTo>
                    <a:lnTo>
                      <a:pt x="163" y="692"/>
                    </a:lnTo>
                    <a:lnTo>
                      <a:pt x="187" y="730"/>
                    </a:lnTo>
                    <a:lnTo>
                      <a:pt x="222" y="749"/>
                    </a:lnTo>
                    <a:lnTo>
                      <a:pt x="250" y="758"/>
                    </a:lnTo>
                    <a:lnTo>
                      <a:pt x="265" y="772"/>
                    </a:lnTo>
                    <a:lnTo>
                      <a:pt x="267" y="794"/>
                    </a:lnTo>
                    <a:lnTo>
                      <a:pt x="272" y="808"/>
                    </a:lnTo>
                    <a:lnTo>
                      <a:pt x="295" y="812"/>
                    </a:lnTo>
                    <a:lnTo>
                      <a:pt x="317" y="812"/>
                    </a:lnTo>
                    <a:lnTo>
                      <a:pt x="324" y="798"/>
                    </a:lnTo>
                    <a:lnTo>
                      <a:pt x="321" y="779"/>
                    </a:lnTo>
                    <a:lnTo>
                      <a:pt x="314" y="763"/>
                    </a:lnTo>
                    <a:lnTo>
                      <a:pt x="321" y="739"/>
                    </a:lnTo>
                    <a:lnTo>
                      <a:pt x="338" y="732"/>
                    </a:lnTo>
                    <a:lnTo>
                      <a:pt x="357" y="744"/>
                    </a:lnTo>
                    <a:lnTo>
                      <a:pt x="369" y="758"/>
                    </a:lnTo>
                    <a:lnTo>
                      <a:pt x="390" y="758"/>
                    </a:lnTo>
                    <a:lnTo>
                      <a:pt x="416" y="756"/>
                    </a:lnTo>
                    <a:lnTo>
                      <a:pt x="437" y="756"/>
                    </a:lnTo>
                    <a:lnTo>
                      <a:pt x="456" y="761"/>
                    </a:lnTo>
                    <a:lnTo>
                      <a:pt x="477" y="782"/>
                    </a:lnTo>
                    <a:lnTo>
                      <a:pt x="491" y="791"/>
                    </a:lnTo>
                    <a:lnTo>
                      <a:pt x="513" y="789"/>
                    </a:lnTo>
                    <a:lnTo>
                      <a:pt x="522" y="775"/>
                    </a:lnTo>
                    <a:lnTo>
                      <a:pt x="522" y="735"/>
                    </a:lnTo>
                    <a:lnTo>
                      <a:pt x="517" y="706"/>
                    </a:lnTo>
                    <a:lnTo>
                      <a:pt x="527" y="680"/>
                    </a:lnTo>
                    <a:lnTo>
                      <a:pt x="546" y="671"/>
                    </a:lnTo>
                    <a:lnTo>
                      <a:pt x="565" y="671"/>
                    </a:lnTo>
                    <a:lnTo>
                      <a:pt x="581" y="692"/>
                    </a:lnTo>
                    <a:lnTo>
                      <a:pt x="583" y="723"/>
                    </a:lnTo>
                    <a:lnTo>
                      <a:pt x="598" y="732"/>
                    </a:lnTo>
                    <a:lnTo>
                      <a:pt x="628" y="732"/>
                    </a:lnTo>
                    <a:lnTo>
                      <a:pt x="647" y="725"/>
                    </a:lnTo>
                    <a:lnTo>
                      <a:pt x="680" y="723"/>
                    </a:lnTo>
                    <a:lnTo>
                      <a:pt x="716" y="730"/>
                    </a:lnTo>
                    <a:lnTo>
                      <a:pt x="742" y="742"/>
                    </a:lnTo>
                    <a:lnTo>
                      <a:pt x="770" y="746"/>
                    </a:lnTo>
                    <a:lnTo>
                      <a:pt x="782" y="746"/>
                    </a:lnTo>
                    <a:lnTo>
                      <a:pt x="775" y="694"/>
                    </a:lnTo>
                    <a:lnTo>
                      <a:pt x="782" y="671"/>
                    </a:lnTo>
                    <a:lnTo>
                      <a:pt x="798" y="657"/>
                    </a:lnTo>
                    <a:lnTo>
                      <a:pt x="817" y="659"/>
                    </a:lnTo>
                    <a:lnTo>
                      <a:pt x="839" y="657"/>
                    </a:lnTo>
                    <a:lnTo>
                      <a:pt x="860" y="638"/>
                    </a:lnTo>
                    <a:lnTo>
                      <a:pt x="883" y="612"/>
                    </a:lnTo>
                    <a:lnTo>
                      <a:pt x="893" y="590"/>
                    </a:lnTo>
                    <a:lnTo>
                      <a:pt x="888" y="572"/>
                    </a:lnTo>
                    <a:lnTo>
                      <a:pt x="874" y="546"/>
                    </a:lnTo>
                    <a:lnTo>
                      <a:pt x="869" y="520"/>
                    </a:lnTo>
                    <a:lnTo>
                      <a:pt x="881" y="503"/>
                    </a:lnTo>
                    <a:lnTo>
                      <a:pt x="895" y="501"/>
                    </a:lnTo>
                    <a:lnTo>
                      <a:pt x="921" y="498"/>
                    </a:lnTo>
                    <a:lnTo>
                      <a:pt x="957" y="484"/>
                    </a:lnTo>
                    <a:lnTo>
                      <a:pt x="987" y="470"/>
                    </a:lnTo>
                    <a:lnTo>
                      <a:pt x="1023" y="456"/>
                    </a:lnTo>
                    <a:lnTo>
                      <a:pt x="1032" y="430"/>
                    </a:lnTo>
                    <a:lnTo>
                      <a:pt x="1030" y="394"/>
                    </a:lnTo>
                    <a:lnTo>
                      <a:pt x="1016" y="378"/>
                    </a:lnTo>
                    <a:lnTo>
                      <a:pt x="983" y="373"/>
                    </a:lnTo>
                    <a:lnTo>
                      <a:pt x="973" y="364"/>
                    </a:lnTo>
                    <a:lnTo>
                      <a:pt x="973" y="345"/>
                    </a:lnTo>
                    <a:lnTo>
                      <a:pt x="966" y="324"/>
                    </a:lnTo>
                    <a:lnTo>
                      <a:pt x="943" y="319"/>
                    </a:lnTo>
                    <a:lnTo>
                      <a:pt x="921" y="328"/>
                    </a:lnTo>
                    <a:lnTo>
                      <a:pt x="917" y="364"/>
                    </a:lnTo>
                    <a:lnTo>
                      <a:pt x="907" y="380"/>
                    </a:lnTo>
                    <a:lnTo>
                      <a:pt x="888" y="399"/>
                    </a:lnTo>
                    <a:lnTo>
                      <a:pt x="865" y="404"/>
                    </a:lnTo>
                    <a:lnTo>
                      <a:pt x="843" y="387"/>
                    </a:lnTo>
                    <a:lnTo>
                      <a:pt x="834" y="366"/>
                    </a:lnTo>
                    <a:lnTo>
                      <a:pt x="815" y="368"/>
                    </a:lnTo>
                    <a:lnTo>
                      <a:pt x="801" y="383"/>
                    </a:lnTo>
                    <a:lnTo>
                      <a:pt x="782" y="385"/>
                    </a:lnTo>
                    <a:lnTo>
                      <a:pt x="761" y="364"/>
                    </a:lnTo>
                    <a:lnTo>
                      <a:pt x="737" y="352"/>
                    </a:lnTo>
                    <a:lnTo>
                      <a:pt x="716" y="359"/>
                    </a:lnTo>
                    <a:lnTo>
                      <a:pt x="695" y="371"/>
                    </a:lnTo>
                    <a:lnTo>
                      <a:pt x="678" y="352"/>
                    </a:lnTo>
                    <a:lnTo>
                      <a:pt x="664" y="345"/>
                    </a:lnTo>
                    <a:lnTo>
                      <a:pt x="640" y="352"/>
                    </a:lnTo>
                    <a:lnTo>
                      <a:pt x="607" y="340"/>
                    </a:lnTo>
                    <a:lnTo>
                      <a:pt x="593" y="312"/>
                    </a:lnTo>
                    <a:lnTo>
                      <a:pt x="586" y="281"/>
                    </a:lnTo>
                    <a:lnTo>
                      <a:pt x="591" y="250"/>
                    </a:lnTo>
                    <a:lnTo>
                      <a:pt x="602" y="243"/>
                    </a:lnTo>
                    <a:lnTo>
                      <a:pt x="609" y="227"/>
                    </a:lnTo>
                    <a:lnTo>
                      <a:pt x="607" y="210"/>
                    </a:lnTo>
                    <a:lnTo>
                      <a:pt x="581" y="189"/>
                    </a:lnTo>
                    <a:lnTo>
                      <a:pt x="572" y="177"/>
                    </a:lnTo>
                    <a:lnTo>
                      <a:pt x="579" y="158"/>
                    </a:lnTo>
                    <a:lnTo>
                      <a:pt x="576" y="142"/>
                    </a:lnTo>
                    <a:lnTo>
                      <a:pt x="555" y="132"/>
                    </a:lnTo>
                    <a:lnTo>
                      <a:pt x="510" y="135"/>
                    </a:lnTo>
                    <a:lnTo>
                      <a:pt x="489" y="137"/>
                    </a:lnTo>
                    <a:lnTo>
                      <a:pt x="463" y="130"/>
                    </a:lnTo>
                    <a:lnTo>
                      <a:pt x="439" y="109"/>
                    </a:lnTo>
                    <a:lnTo>
                      <a:pt x="428" y="85"/>
                    </a:lnTo>
                    <a:lnTo>
                      <a:pt x="409" y="68"/>
                    </a:lnTo>
                    <a:lnTo>
                      <a:pt x="387" y="57"/>
                    </a:lnTo>
                    <a:lnTo>
                      <a:pt x="380" y="31"/>
                    </a:lnTo>
                    <a:lnTo>
                      <a:pt x="364" y="16"/>
                    </a:lnTo>
                    <a:lnTo>
                      <a:pt x="338" y="5"/>
                    </a:lnTo>
                    <a:lnTo>
                      <a:pt x="317" y="0"/>
                    </a:lnTo>
                    <a:lnTo>
                      <a:pt x="302" y="12"/>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30" name="Freeform 29"/>
              <p:cNvSpPr>
                <a:spLocks/>
              </p:cNvSpPr>
              <p:nvPr/>
            </p:nvSpPr>
            <p:spPr bwMode="gray">
              <a:xfrm>
                <a:off x="-6119813" y="2116138"/>
                <a:ext cx="1384300" cy="2100263"/>
              </a:xfrm>
              <a:custGeom>
                <a:avLst/>
                <a:gdLst/>
                <a:ahLst/>
                <a:cxnLst>
                  <a:cxn ang="0">
                    <a:pos x="572" y="69"/>
                  </a:cxn>
                  <a:cxn ang="0">
                    <a:pos x="494" y="83"/>
                  </a:cxn>
                  <a:cxn ang="0">
                    <a:pos x="451" y="146"/>
                  </a:cxn>
                  <a:cxn ang="0">
                    <a:pos x="350" y="182"/>
                  </a:cxn>
                  <a:cxn ang="0">
                    <a:pos x="357" y="229"/>
                  </a:cxn>
                  <a:cxn ang="0">
                    <a:pos x="333" y="321"/>
                  </a:cxn>
                  <a:cxn ang="0">
                    <a:pos x="291" y="368"/>
                  </a:cxn>
                  <a:cxn ang="0">
                    <a:pos x="236" y="442"/>
                  </a:cxn>
                  <a:cxn ang="0">
                    <a:pos x="149" y="527"/>
                  </a:cxn>
                  <a:cxn ang="0">
                    <a:pos x="144" y="595"/>
                  </a:cxn>
                  <a:cxn ang="0">
                    <a:pos x="125" y="659"/>
                  </a:cxn>
                  <a:cxn ang="0">
                    <a:pos x="69" y="680"/>
                  </a:cxn>
                  <a:cxn ang="0">
                    <a:pos x="97" y="768"/>
                  </a:cxn>
                  <a:cxn ang="0">
                    <a:pos x="88" y="836"/>
                  </a:cxn>
                  <a:cxn ang="0">
                    <a:pos x="0" y="921"/>
                  </a:cxn>
                  <a:cxn ang="0">
                    <a:pos x="78" y="961"/>
                  </a:cxn>
                  <a:cxn ang="0">
                    <a:pos x="163" y="959"/>
                  </a:cxn>
                  <a:cxn ang="0">
                    <a:pos x="208" y="1046"/>
                  </a:cxn>
                  <a:cxn ang="0">
                    <a:pos x="208" y="1110"/>
                  </a:cxn>
                  <a:cxn ang="0">
                    <a:pos x="189" y="1167"/>
                  </a:cxn>
                  <a:cxn ang="0">
                    <a:pos x="229" y="1240"/>
                  </a:cxn>
                  <a:cxn ang="0">
                    <a:pos x="277" y="1202"/>
                  </a:cxn>
                  <a:cxn ang="0">
                    <a:pos x="295" y="1252"/>
                  </a:cxn>
                  <a:cxn ang="0">
                    <a:pos x="362" y="1257"/>
                  </a:cxn>
                  <a:cxn ang="0">
                    <a:pos x="347" y="1290"/>
                  </a:cxn>
                  <a:cxn ang="0">
                    <a:pos x="366" y="1323"/>
                  </a:cxn>
                  <a:cxn ang="0">
                    <a:pos x="409" y="1278"/>
                  </a:cxn>
                  <a:cxn ang="0">
                    <a:pos x="440" y="1219"/>
                  </a:cxn>
                  <a:cxn ang="0">
                    <a:pos x="451" y="1124"/>
                  </a:cxn>
                  <a:cxn ang="0">
                    <a:pos x="435" y="1035"/>
                  </a:cxn>
                  <a:cxn ang="0">
                    <a:pos x="432" y="964"/>
                  </a:cxn>
                  <a:cxn ang="0">
                    <a:pos x="482" y="905"/>
                  </a:cxn>
                  <a:cxn ang="0">
                    <a:pos x="522" y="917"/>
                  </a:cxn>
                  <a:cxn ang="0">
                    <a:pos x="574" y="924"/>
                  </a:cxn>
                  <a:cxn ang="0">
                    <a:pos x="614" y="931"/>
                  </a:cxn>
                  <a:cxn ang="0">
                    <a:pos x="617" y="853"/>
                  </a:cxn>
                  <a:cxn ang="0">
                    <a:pos x="662" y="865"/>
                  </a:cxn>
                  <a:cxn ang="0">
                    <a:pos x="725" y="824"/>
                  </a:cxn>
                  <a:cxn ang="0">
                    <a:pos x="716" y="775"/>
                  </a:cxn>
                  <a:cxn ang="0">
                    <a:pos x="749" y="735"/>
                  </a:cxn>
                  <a:cxn ang="0">
                    <a:pos x="777" y="737"/>
                  </a:cxn>
                  <a:cxn ang="0">
                    <a:pos x="829" y="664"/>
                  </a:cxn>
                  <a:cxn ang="0">
                    <a:pos x="839" y="595"/>
                  </a:cxn>
                  <a:cxn ang="0">
                    <a:pos x="801" y="633"/>
                  </a:cxn>
                  <a:cxn ang="0">
                    <a:pos x="801" y="543"/>
                  </a:cxn>
                  <a:cxn ang="0">
                    <a:pos x="851" y="413"/>
                  </a:cxn>
                  <a:cxn ang="0">
                    <a:pos x="858" y="361"/>
                  </a:cxn>
                  <a:cxn ang="0">
                    <a:pos x="851" y="253"/>
                  </a:cxn>
                  <a:cxn ang="0">
                    <a:pos x="794" y="224"/>
                  </a:cxn>
                  <a:cxn ang="0">
                    <a:pos x="749" y="175"/>
                  </a:cxn>
                  <a:cxn ang="0">
                    <a:pos x="744" y="208"/>
                  </a:cxn>
                  <a:cxn ang="0">
                    <a:pos x="695" y="224"/>
                  </a:cxn>
                  <a:cxn ang="0">
                    <a:pos x="659" y="175"/>
                  </a:cxn>
                  <a:cxn ang="0">
                    <a:pos x="704" y="111"/>
                  </a:cxn>
                  <a:cxn ang="0">
                    <a:pos x="721" y="76"/>
                  </a:cxn>
                  <a:cxn ang="0">
                    <a:pos x="718" y="26"/>
                  </a:cxn>
                  <a:cxn ang="0">
                    <a:pos x="612" y="0"/>
                  </a:cxn>
                </a:cxnLst>
                <a:rect l="0" t="0" r="r" b="b"/>
                <a:pathLst>
                  <a:path w="872" h="1323">
                    <a:moveTo>
                      <a:pt x="612" y="0"/>
                    </a:moveTo>
                    <a:lnTo>
                      <a:pt x="603" y="14"/>
                    </a:lnTo>
                    <a:lnTo>
                      <a:pt x="595" y="43"/>
                    </a:lnTo>
                    <a:lnTo>
                      <a:pt x="572" y="69"/>
                    </a:lnTo>
                    <a:lnTo>
                      <a:pt x="548" y="92"/>
                    </a:lnTo>
                    <a:lnTo>
                      <a:pt x="525" y="104"/>
                    </a:lnTo>
                    <a:lnTo>
                      <a:pt x="510" y="94"/>
                    </a:lnTo>
                    <a:lnTo>
                      <a:pt x="494" y="83"/>
                    </a:lnTo>
                    <a:lnTo>
                      <a:pt x="470" y="85"/>
                    </a:lnTo>
                    <a:lnTo>
                      <a:pt x="456" y="104"/>
                    </a:lnTo>
                    <a:lnTo>
                      <a:pt x="454" y="123"/>
                    </a:lnTo>
                    <a:lnTo>
                      <a:pt x="451" y="146"/>
                    </a:lnTo>
                    <a:lnTo>
                      <a:pt x="440" y="163"/>
                    </a:lnTo>
                    <a:lnTo>
                      <a:pt x="418" y="163"/>
                    </a:lnTo>
                    <a:lnTo>
                      <a:pt x="376" y="165"/>
                    </a:lnTo>
                    <a:lnTo>
                      <a:pt x="350" y="182"/>
                    </a:lnTo>
                    <a:lnTo>
                      <a:pt x="333" y="198"/>
                    </a:lnTo>
                    <a:lnTo>
                      <a:pt x="329" y="215"/>
                    </a:lnTo>
                    <a:lnTo>
                      <a:pt x="343" y="222"/>
                    </a:lnTo>
                    <a:lnTo>
                      <a:pt x="357" y="229"/>
                    </a:lnTo>
                    <a:lnTo>
                      <a:pt x="359" y="253"/>
                    </a:lnTo>
                    <a:lnTo>
                      <a:pt x="355" y="281"/>
                    </a:lnTo>
                    <a:lnTo>
                      <a:pt x="345" y="302"/>
                    </a:lnTo>
                    <a:lnTo>
                      <a:pt x="333" y="321"/>
                    </a:lnTo>
                    <a:lnTo>
                      <a:pt x="305" y="321"/>
                    </a:lnTo>
                    <a:lnTo>
                      <a:pt x="281" y="326"/>
                    </a:lnTo>
                    <a:lnTo>
                      <a:pt x="281" y="347"/>
                    </a:lnTo>
                    <a:lnTo>
                      <a:pt x="291" y="368"/>
                    </a:lnTo>
                    <a:lnTo>
                      <a:pt x="288" y="385"/>
                    </a:lnTo>
                    <a:lnTo>
                      <a:pt x="262" y="399"/>
                    </a:lnTo>
                    <a:lnTo>
                      <a:pt x="253" y="411"/>
                    </a:lnTo>
                    <a:lnTo>
                      <a:pt x="236" y="442"/>
                    </a:lnTo>
                    <a:lnTo>
                      <a:pt x="220" y="451"/>
                    </a:lnTo>
                    <a:lnTo>
                      <a:pt x="189" y="463"/>
                    </a:lnTo>
                    <a:lnTo>
                      <a:pt x="158" y="494"/>
                    </a:lnTo>
                    <a:lnTo>
                      <a:pt x="149" y="527"/>
                    </a:lnTo>
                    <a:lnTo>
                      <a:pt x="137" y="550"/>
                    </a:lnTo>
                    <a:lnTo>
                      <a:pt x="142" y="565"/>
                    </a:lnTo>
                    <a:lnTo>
                      <a:pt x="147" y="579"/>
                    </a:lnTo>
                    <a:lnTo>
                      <a:pt x="144" y="595"/>
                    </a:lnTo>
                    <a:lnTo>
                      <a:pt x="135" y="614"/>
                    </a:lnTo>
                    <a:lnTo>
                      <a:pt x="125" y="626"/>
                    </a:lnTo>
                    <a:lnTo>
                      <a:pt x="123" y="640"/>
                    </a:lnTo>
                    <a:lnTo>
                      <a:pt x="125" y="659"/>
                    </a:lnTo>
                    <a:lnTo>
                      <a:pt x="116" y="680"/>
                    </a:lnTo>
                    <a:lnTo>
                      <a:pt x="97" y="683"/>
                    </a:lnTo>
                    <a:lnTo>
                      <a:pt x="83" y="676"/>
                    </a:lnTo>
                    <a:lnTo>
                      <a:pt x="69" y="680"/>
                    </a:lnTo>
                    <a:lnTo>
                      <a:pt x="62" y="706"/>
                    </a:lnTo>
                    <a:lnTo>
                      <a:pt x="64" y="723"/>
                    </a:lnTo>
                    <a:lnTo>
                      <a:pt x="78" y="744"/>
                    </a:lnTo>
                    <a:lnTo>
                      <a:pt x="97" y="768"/>
                    </a:lnTo>
                    <a:lnTo>
                      <a:pt x="114" y="784"/>
                    </a:lnTo>
                    <a:lnTo>
                      <a:pt x="121" y="803"/>
                    </a:lnTo>
                    <a:lnTo>
                      <a:pt x="114" y="822"/>
                    </a:lnTo>
                    <a:lnTo>
                      <a:pt x="88" y="836"/>
                    </a:lnTo>
                    <a:lnTo>
                      <a:pt x="59" y="850"/>
                    </a:lnTo>
                    <a:lnTo>
                      <a:pt x="29" y="874"/>
                    </a:lnTo>
                    <a:lnTo>
                      <a:pt x="12" y="895"/>
                    </a:lnTo>
                    <a:lnTo>
                      <a:pt x="0" y="921"/>
                    </a:lnTo>
                    <a:lnTo>
                      <a:pt x="0" y="940"/>
                    </a:lnTo>
                    <a:lnTo>
                      <a:pt x="14" y="957"/>
                    </a:lnTo>
                    <a:lnTo>
                      <a:pt x="43" y="966"/>
                    </a:lnTo>
                    <a:lnTo>
                      <a:pt x="78" y="961"/>
                    </a:lnTo>
                    <a:lnTo>
                      <a:pt x="99" y="942"/>
                    </a:lnTo>
                    <a:lnTo>
                      <a:pt x="121" y="935"/>
                    </a:lnTo>
                    <a:lnTo>
                      <a:pt x="144" y="938"/>
                    </a:lnTo>
                    <a:lnTo>
                      <a:pt x="163" y="959"/>
                    </a:lnTo>
                    <a:lnTo>
                      <a:pt x="180" y="985"/>
                    </a:lnTo>
                    <a:lnTo>
                      <a:pt x="192" y="1009"/>
                    </a:lnTo>
                    <a:lnTo>
                      <a:pt x="206" y="1030"/>
                    </a:lnTo>
                    <a:lnTo>
                      <a:pt x="208" y="1046"/>
                    </a:lnTo>
                    <a:lnTo>
                      <a:pt x="203" y="1065"/>
                    </a:lnTo>
                    <a:lnTo>
                      <a:pt x="196" y="1077"/>
                    </a:lnTo>
                    <a:lnTo>
                      <a:pt x="196" y="1096"/>
                    </a:lnTo>
                    <a:lnTo>
                      <a:pt x="208" y="1110"/>
                    </a:lnTo>
                    <a:lnTo>
                      <a:pt x="217" y="1127"/>
                    </a:lnTo>
                    <a:lnTo>
                      <a:pt x="213" y="1136"/>
                    </a:lnTo>
                    <a:lnTo>
                      <a:pt x="196" y="1150"/>
                    </a:lnTo>
                    <a:lnTo>
                      <a:pt x="189" y="1167"/>
                    </a:lnTo>
                    <a:lnTo>
                      <a:pt x="192" y="1195"/>
                    </a:lnTo>
                    <a:lnTo>
                      <a:pt x="203" y="1216"/>
                    </a:lnTo>
                    <a:lnTo>
                      <a:pt x="215" y="1233"/>
                    </a:lnTo>
                    <a:lnTo>
                      <a:pt x="229" y="1240"/>
                    </a:lnTo>
                    <a:lnTo>
                      <a:pt x="246" y="1238"/>
                    </a:lnTo>
                    <a:lnTo>
                      <a:pt x="253" y="1221"/>
                    </a:lnTo>
                    <a:lnTo>
                      <a:pt x="262" y="1207"/>
                    </a:lnTo>
                    <a:lnTo>
                      <a:pt x="277" y="1202"/>
                    </a:lnTo>
                    <a:lnTo>
                      <a:pt x="286" y="1205"/>
                    </a:lnTo>
                    <a:lnTo>
                      <a:pt x="293" y="1224"/>
                    </a:lnTo>
                    <a:lnTo>
                      <a:pt x="293" y="1242"/>
                    </a:lnTo>
                    <a:lnTo>
                      <a:pt x="295" y="1252"/>
                    </a:lnTo>
                    <a:lnTo>
                      <a:pt x="312" y="1261"/>
                    </a:lnTo>
                    <a:lnTo>
                      <a:pt x="331" y="1259"/>
                    </a:lnTo>
                    <a:lnTo>
                      <a:pt x="345" y="1252"/>
                    </a:lnTo>
                    <a:lnTo>
                      <a:pt x="362" y="1257"/>
                    </a:lnTo>
                    <a:lnTo>
                      <a:pt x="369" y="1268"/>
                    </a:lnTo>
                    <a:lnTo>
                      <a:pt x="369" y="1276"/>
                    </a:lnTo>
                    <a:lnTo>
                      <a:pt x="359" y="1287"/>
                    </a:lnTo>
                    <a:lnTo>
                      <a:pt x="347" y="1290"/>
                    </a:lnTo>
                    <a:lnTo>
                      <a:pt x="338" y="1299"/>
                    </a:lnTo>
                    <a:lnTo>
                      <a:pt x="336" y="1311"/>
                    </a:lnTo>
                    <a:lnTo>
                      <a:pt x="343" y="1320"/>
                    </a:lnTo>
                    <a:lnTo>
                      <a:pt x="366" y="1323"/>
                    </a:lnTo>
                    <a:lnTo>
                      <a:pt x="390" y="1318"/>
                    </a:lnTo>
                    <a:lnTo>
                      <a:pt x="404" y="1313"/>
                    </a:lnTo>
                    <a:lnTo>
                      <a:pt x="409" y="1297"/>
                    </a:lnTo>
                    <a:lnTo>
                      <a:pt x="409" y="1278"/>
                    </a:lnTo>
                    <a:lnTo>
                      <a:pt x="409" y="1257"/>
                    </a:lnTo>
                    <a:lnTo>
                      <a:pt x="416" y="1242"/>
                    </a:lnTo>
                    <a:lnTo>
                      <a:pt x="432" y="1228"/>
                    </a:lnTo>
                    <a:lnTo>
                      <a:pt x="440" y="1219"/>
                    </a:lnTo>
                    <a:lnTo>
                      <a:pt x="454" y="1202"/>
                    </a:lnTo>
                    <a:lnTo>
                      <a:pt x="458" y="1174"/>
                    </a:lnTo>
                    <a:lnTo>
                      <a:pt x="456" y="1143"/>
                    </a:lnTo>
                    <a:lnTo>
                      <a:pt x="451" y="1124"/>
                    </a:lnTo>
                    <a:lnTo>
                      <a:pt x="442" y="1087"/>
                    </a:lnTo>
                    <a:lnTo>
                      <a:pt x="432" y="1070"/>
                    </a:lnTo>
                    <a:lnTo>
                      <a:pt x="430" y="1051"/>
                    </a:lnTo>
                    <a:lnTo>
                      <a:pt x="435" y="1035"/>
                    </a:lnTo>
                    <a:lnTo>
                      <a:pt x="440" y="1020"/>
                    </a:lnTo>
                    <a:lnTo>
                      <a:pt x="437" y="999"/>
                    </a:lnTo>
                    <a:lnTo>
                      <a:pt x="425" y="983"/>
                    </a:lnTo>
                    <a:lnTo>
                      <a:pt x="432" y="964"/>
                    </a:lnTo>
                    <a:lnTo>
                      <a:pt x="449" y="945"/>
                    </a:lnTo>
                    <a:lnTo>
                      <a:pt x="463" y="928"/>
                    </a:lnTo>
                    <a:lnTo>
                      <a:pt x="470" y="914"/>
                    </a:lnTo>
                    <a:lnTo>
                      <a:pt x="482" y="905"/>
                    </a:lnTo>
                    <a:lnTo>
                      <a:pt x="496" y="907"/>
                    </a:lnTo>
                    <a:lnTo>
                      <a:pt x="503" y="917"/>
                    </a:lnTo>
                    <a:lnTo>
                      <a:pt x="513" y="921"/>
                    </a:lnTo>
                    <a:lnTo>
                      <a:pt x="522" y="917"/>
                    </a:lnTo>
                    <a:lnTo>
                      <a:pt x="532" y="909"/>
                    </a:lnTo>
                    <a:lnTo>
                      <a:pt x="555" y="907"/>
                    </a:lnTo>
                    <a:lnTo>
                      <a:pt x="567" y="912"/>
                    </a:lnTo>
                    <a:lnTo>
                      <a:pt x="574" y="924"/>
                    </a:lnTo>
                    <a:lnTo>
                      <a:pt x="579" y="938"/>
                    </a:lnTo>
                    <a:lnTo>
                      <a:pt x="588" y="942"/>
                    </a:lnTo>
                    <a:lnTo>
                      <a:pt x="605" y="940"/>
                    </a:lnTo>
                    <a:lnTo>
                      <a:pt x="614" y="931"/>
                    </a:lnTo>
                    <a:lnTo>
                      <a:pt x="624" y="912"/>
                    </a:lnTo>
                    <a:lnTo>
                      <a:pt x="624" y="893"/>
                    </a:lnTo>
                    <a:lnTo>
                      <a:pt x="619" y="869"/>
                    </a:lnTo>
                    <a:lnTo>
                      <a:pt x="617" y="853"/>
                    </a:lnTo>
                    <a:lnTo>
                      <a:pt x="621" y="848"/>
                    </a:lnTo>
                    <a:lnTo>
                      <a:pt x="636" y="848"/>
                    </a:lnTo>
                    <a:lnTo>
                      <a:pt x="647" y="855"/>
                    </a:lnTo>
                    <a:lnTo>
                      <a:pt x="662" y="865"/>
                    </a:lnTo>
                    <a:lnTo>
                      <a:pt x="688" y="865"/>
                    </a:lnTo>
                    <a:lnTo>
                      <a:pt x="704" y="855"/>
                    </a:lnTo>
                    <a:lnTo>
                      <a:pt x="718" y="839"/>
                    </a:lnTo>
                    <a:lnTo>
                      <a:pt x="725" y="824"/>
                    </a:lnTo>
                    <a:lnTo>
                      <a:pt x="728" y="810"/>
                    </a:lnTo>
                    <a:lnTo>
                      <a:pt x="723" y="794"/>
                    </a:lnTo>
                    <a:lnTo>
                      <a:pt x="718" y="784"/>
                    </a:lnTo>
                    <a:lnTo>
                      <a:pt x="716" y="775"/>
                    </a:lnTo>
                    <a:lnTo>
                      <a:pt x="718" y="758"/>
                    </a:lnTo>
                    <a:lnTo>
                      <a:pt x="725" y="742"/>
                    </a:lnTo>
                    <a:lnTo>
                      <a:pt x="737" y="732"/>
                    </a:lnTo>
                    <a:lnTo>
                      <a:pt x="749" y="735"/>
                    </a:lnTo>
                    <a:lnTo>
                      <a:pt x="756" y="742"/>
                    </a:lnTo>
                    <a:lnTo>
                      <a:pt x="761" y="749"/>
                    </a:lnTo>
                    <a:lnTo>
                      <a:pt x="768" y="749"/>
                    </a:lnTo>
                    <a:lnTo>
                      <a:pt x="777" y="737"/>
                    </a:lnTo>
                    <a:lnTo>
                      <a:pt x="792" y="720"/>
                    </a:lnTo>
                    <a:lnTo>
                      <a:pt x="808" y="706"/>
                    </a:lnTo>
                    <a:lnTo>
                      <a:pt x="827" y="683"/>
                    </a:lnTo>
                    <a:lnTo>
                      <a:pt x="829" y="664"/>
                    </a:lnTo>
                    <a:lnTo>
                      <a:pt x="839" y="650"/>
                    </a:lnTo>
                    <a:lnTo>
                      <a:pt x="834" y="640"/>
                    </a:lnTo>
                    <a:lnTo>
                      <a:pt x="834" y="617"/>
                    </a:lnTo>
                    <a:lnTo>
                      <a:pt x="839" y="595"/>
                    </a:lnTo>
                    <a:lnTo>
                      <a:pt x="832" y="586"/>
                    </a:lnTo>
                    <a:lnTo>
                      <a:pt x="822" y="593"/>
                    </a:lnTo>
                    <a:lnTo>
                      <a:pt x="820" y="614"/>
                    </a:lnTo>
                    <a:lnTo>
                      <a:pt x="801" y="633"/>
                    </a:lnTo>
                    <a:lnTo>
                      <a:pt x="784" y="628"/>
                    </a:lnTo>
                    <a:lnTo>
                      <a:pt x="775" y="612"/>
                    </a:lnTo>
                    <a:lnTo>
                      <a:pt x="777" y="583"/>
                    </a:lnTo>
                    <a:lnTo>
                      <a:pt x="801" y="543"/>
                    </a:lnTo>
                    <a:lnTo>
                      <a:pt x="806" y="510"/>
                    </a:lnTo>
                    <a:lnTo>
                      <a:pt x="808" y="468"/>
                    </a:lnTo>
                    <a:lnTo>
                      <a:pt x="829" y="435"/>
                    </a:lnTo>
                    <a:lnTo>
                      <a:pt x="851" y="413"/>
                    </a:lnTo>
                    <a:lnTo>
                      <a:pt x="867" y="399"/>
                    </a:lnTo>
                    <a:lnTo>
                      <a:pt x="872" y="387"/>
                    </a:lnTo>
                    <a:lnTo>
                      <a:pt x="869" y="376"/>
                    </a:lnTo>
                    <a:lnTo>
                      <a:pt x="858" y="361"/>
                    </a:lnTo>
                    <a:lnTo>
                      <a:pt x="855" y="340"/>
                    </a:lnTo>
                    <a:lnTo>
                      <a:pt x="858" y="307"/>
                    </a:lnTo>
                    <a:lnTo>
                      <a:pt x="855" y="274"/>
                    </a:lnTo>
                    <a:lnTo>
                      <a:pt x="851" y="253"/>
                    </a:lnTo>
                    <a:lnTo>
                      <a:pt x="844" y="241"/>
                    </a:lnTo>
                    <a:lnTo>
                      <a:pt x="829" y="236"/>
                    </a:lnTo>
                    <a:lnTo>
                      <a:pt x="808" y="234"/>
                    </a:lnTo>
                    <a:lnTo>
                      <a:pt x="794" y="224"/>
                    </a:lnTo>
                    <a:lnTo>
                      <a:pt x="782" y="210"/>
                    </a:lnTo>
                    <a:lnTo>
                      <a:pt x="780" y="189"/>
                    </a:lnTo>
                    <a:lnTo>
                      <a:pt x="782" y="175"/>
                    </a:lnTo>
                    <a:lnTo>
                      <a:pt x="749" y="175"/>
                    </a:lnTo>
                    <a:lnTo>
                      <a:pt x="740" y="180"/>
                    </a:lnTo>
                    <a:lnTo>
                      <a:pt x="740" y="189"/>
                    </a:lnTo>
                    <a:lnTo>
                      <a:pt x="742" y="198"/>
                    </a:lnTo>
                    <a:lnTo>
                      <a:pt x="744" y="208"/>
                    </a:lnTo>
                    <a:lnTo>
                      <a:pt x="737" y="222"/>
                    </a:lnTo>
                    <a:lnTo>
                      <a:pt x="728" y="224"/>
                    </a:lnTo>
                    <a:lnTo>
                      <a:pt x="709" y="227"/>
                    </a:lnTo>
                    <a:lnTo>
                      <a:pt x="695" y="224"/>
                    </a:lnTo>
                    <a:lnTo>
                      <a:pt x="676" y="215"/>
                    </a:lnTo>
                    <a:lnTo>
                      <a:pt x="659" y="206"/>
                    </a:lnTo>
                    <a:lnTo>
                      <a:pt x="655" y="189"/>
                    </a:lnTo>
                    <a:lnTo>
                      <a:pt x="659" y="175"/>
                    </a:lnTo>
                    <a:lnTo>
                      <a:pt x="666" y="165"/>
                    </a:lnTo>
                    <a:lnTo>
                      <a:pt x="702" y="144"/>
                    </a:lnTo>
                    <a:lnTo>
                      <a:pt x="706" y="130"/>
                    </a:lnTo>
                    <a:lnTo>
                      <a:pt x="704" y="111"/>
                    </a:lnTo>
                    <a:lnTo>
                      <a:pt x="697" y="102"/>
                    </a:lnTo>
                    <a:lnTo>
                      <a:pt x="697" y="85"/>
                    </a:lnTo>
                    <a:lnTo>
                      <a:pt x="706" y="73"/>
                    </a:lnTo>
                    <a:lnTo>
                      <a:pt x="721" y="76"/>
                    </a:lnTo>
                    <a:lnTo>
                      <a:pt x="732" y="71"/>
                    </a:lnTo>
                    <a:lnTo>
                      <a:pt x="735" y="61"/>
                    </a:lnTo>
                    <a:lnTo>
                      <a:pt x="730" y="47"/>
                    </a:lnTo>
                    <a:lnTo>
                      <a:pt x="718" y="26"/>
                    </a:lnTo>
                    <a:lnTo>
                      <a:pt x="704" y="17"/>
                    </a:lnTo>
                    <a:lnTo>
                      <a:pt x="673" y="17"/>
                    </a:lnTo>
                    <a:lnTo>
                      <a:pt x="640" y="14"/>
                    </a:lnTo>
                    <a:lnTo>
                      <a:pt x="612" y="0"/>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31" name="Freeform 30"/>
              <p:cNvSpPr>
                <a:spLocks/>
              </p:cNvSpPr>
              <p:nvPr/>
            </p:nvSpPr>
            <p:spPr bwMode="gray">
              <a:xfrm>
                <a:off x="-7143750" y="2776538"/>
                <a:ext cx="1398587" cy="1863725"/>
              </a:xfrm>
              <a:custGeom>
                <a:avLst/>
                <a:gdLst/>
                <a:ahLst/>
                <a:cxnLst>
                  <a:cxn ang="0">
                    <a:pos x="747" y="115"/>
                  </a:cxn>
                  <a:cxn ang="0">
                    <a:pos x="699" y="52"/>
                  </a:cxn>
                  <a:cxn ang="0">
                    <a:pos x="657" y="2"/>
                  </a:cxn>
                  <a:cxn ang="0">
                    <a:pos x="614" y="40"/>
                  </a:cxn>
                  <a:cxn ang="0">
                    <a:pos x="525" y="113"/>
                  </a:cxn>
                  <a:cxn ang="0">
                    <a:pos x="418" y="186"/>
                  </a:cxn>
                  <a:cxn ang="0">
                    <a:pos x="383" y="205"/>
                  </a:cxn>
                  <a:cxn ang="0">
                    <a:pos x="326" y="224"/>
                  </a:cxn>
                  <a:cxn ang="0">
                    <a:pos x="310" y="257"/>
                  </a:cxn>
                  <a:cxn ang="0">
                    <a:pos x="267" y="269"/>
                  </a:cxn>
                  <a:cxn ang="0">
                    <a:pos x="241" y="319"/>
                  </a:cxn>
                  <a:cxn ang="0">
                    <a:pos x="201" y="290"/>
                  </a:cxn>
                  <a:cxn ang="0">
                    <a:pos x="125" y="316"/>
                  </a:cxn>
                  <a:cxn ang="0">
                    <a:pos x="69" y="342"/>
                  </a:cxn>
                  <a:cxn ang="0">
                    <a:pos x="24" y="408"/>
                  </a:cxn>
                  <a:cxn ang="0">
                    <a:pos x="12" y="453"/>
                  </a:cxn>
                  <a:cxn ang="0">
                    <a:pos x="3" y="515"/>
                  </a:cxn>
                  <a:cxn ang="0">
                    <a:pos x="40" y="569"/>
                  </a:cxn>
                  <a:cxn ang="0">
                    <a:pos x="97" y="619"/>
                  </a:cxn>
                  <a:cxn ang="0">
                    <a:pos x="128" y="673"/>
                  </a:cxn>
                  <a:cxn ang="0">
                    <a:pos x="95" y="732"/>
                  </a:cxn>
                  <a:cxn ang="0">
                    <a:pos x="111" y="770"/>
                  </a:cxn>
                  <a:cxn ang="0">
                    <a:pos x="170" y="779"/>
                  </a:cxn>
                  <a:cxn ang="0">
                    <a:pos x="246" y="767"/>
                  </a:cxn>
                  <a:cxn ang="0">
                    <a:pos x="298" y="749"/>
                  </a:cxn>
                  <a:cxn ang="0">
                    <a:pos x="357" y="756"/>
                  </a:cxn>
                  <a:cxn ang="0">
                    <a:pos x="416" y="784"/>
                  </a:cxn>
                  <a:cxn ang="0">
                    <a:pos x="437" y="843"/>
                  </a:cxn>
                  <a:cxn ang="0">
                    <a:pos x="425" y="874"/>
                  </a:cxn>
                  <a:cxn ang="0">
                    <a:pos x="442" y="930"/>
                  </a:cxn>
                  <a:cxn ang="0">
                    <a:pos x="418" y="987"/>
                  </a:cxn>
                  <a:cxn ang="0">
                    <a:pos x="449" y="1025"/>
                  </a:cxn>
                  <a:cxn ang="0">
                    <a:pos x="480" y="1075"/>
                  </a:cxn>
                  <a:cxn ang="0">
                    <a:pos x="553" y="1112"/>
                  </a:cxn>
                  <a:cxn ang="0">
                    <a:pos x="617" y="1089"/>
                  </a:cxn>
                  <a:cxn ang="0">
                    <a:pos x="678" y="1122"/>
                  </a:cxn>
                  <a:cxn ang="0">
                    <a:pos x="733" y="1150"/>
                  </a:cxn>
                  <a:cxn ang="0">
                    <a:pos x="773" y="1157"/>
                  </a:cxn>
                  <a:cxn ang="0">
                    <a:pos x="825" y="1070"/>
                  </a:cxn>
                  <a:cxn ang="0">
                    <a:pos x="853" y="992"/>
                  </a:cxn>
                  <a:cxn ang="0">
                    <a:pos x="853" y="956"/>
                  </a:cxn>
                  <a:cxn ang="0">
                    <a:pos x="881" y="909"/>
                  </a:cxn>
                  <a:cxn ang="0">
                    <a:pos x="860" y="857"/>
                  </a:cxn>
                  <a:cxn ang="0">
                    <a:pos x="860" y="817"/>
                  </a:cxn>
                  <a:cxn ang="0">
                    <a:pos x="834" y="751"/>
                  </a:cxn>
                  <a:cxn ang="0">
                    <a:pos x="862" y="711"/>
                  </a:cxn>
                  <a:cxn ang="0">
                    <a:pos x="841" y="661"/>
                  </a:cxn>
                  <a:cxn ang="0">
                    <a:pos x="851" y="614"/>
                  </a:cxn>
                  <a:cxn ang="0">
                    <a:pos x="808" y="543"/>
                  </a:cxn>
                  <a:cxn ang="0">
                    <a:pos x="744" y="526"/>
                  </a:cxn>
                  <a:cxn ang="0">
                    <a:pos x="659" y="541"/>
                  </a:cxn>
                  <a:cxn ang="0">
                    <a:pos x="657" y="479"/>
                  </a:cxn>
                  <a:cxn ang="0">
                    <a:pos x="733" y="420"/>
                  </a:cxn>
                  <a:cxn ang="0">
                    <a:pos x="759" y="368"/>
                  </a:cxn>
                  <a:cxn ang="0">
                    <a:pos x="709" y="307"/>
                  </a:cxn>
                  <a:cxn ang="0">
                    <a:pos x="728" y="260"/>
                  </a:cxn>
                  <a:cxn ang="0">
                    <a:pos x="770" y="243"/>
                  </a:cxn>
                  <a:cxn ang="0">
                    <a:pos x="780" y="198"/>
                  </a:cxn>
                  <a:cxn ang="0">
                    <a:pos x="787" y="149"/>
                  </a:cxn>
                </a:cxnLst>
                <a:rect l="0" t="0" r="r" b="b"/>
                <a:pathLst>
                  <a:path w="881" h="1174">
                    <a:moveTo>
                      <a:pt x="782" y="134"/>
                    </a:moveTo>
                    <a:lnTo>
                      <a:pt x="763" y="134"/>
                    </a:lnTo>
                    <a:lnTo>
                      <a:pt x="747" y="115"/>
                    </a:lnTo>
                    <a:lnTo>
                      <a:pt x="740" y="85"/>
                    </a:lnTo>
                    <a:lnTo>
                      <a:pt x="730" y="68"/>
                    </a:lnTo>
                    <a:lnTo>
                      <a:pt x="699" y="52"/>
                    </a:lnTo>
                    <a:lnTo>
                      <a:pt x="666" y="28"/>
                    </a:lnTo>
                    <a:lnTo>
                      <a:pt x="662" y="21"/>
                    </a:lnTo>
                    <a:lnTo>
                      <a:pt x="657" y="2"/>
                    </a:lnTo>
                    <a:lnTo>
                      <a:pt x="645" y="0"/>
                    </a:lnTo>
                    <a:lnTo>
                      <a:pt x="629" y="14"/>
                    </a:lnTo>
                    <a:lnTo>
                      <a:pt x="614" y="40"/>
                    </a:lnTo>
                    <a:lnTo>
                      <a:pt x="596" y="82"/>
                    </a:lnTo>
                    <a:lnTo>
                      <a:pt x="570" y="94"/>
                    </a:lnTo>
                    <a:lnTo>
                      <a:pt x="525" y="113"/>
                    </a:lnTo>
                    <a:lnTo>
                      <a:pt x="485" y="156"/>
                    </a:lnTo>
                    <a:lnTo>
                      <a:pt x="461" y="165"/>
                    </a:lnTo>
                    <a:lnTo>
                      <a:pt x="418" y="186"/>
                    </a:lnTo>
                    <a:lnTo>
                      <a:pt x="402" y="208"/>
                    </a:lnTo>
                    <a:lnTo>
                      <a:pt x="392" y="212"/>
                    </a:lnTo>
                    <a:lnTo>
                      <a:pt x="383" y="205"/>
                    </a:lnTo>
                    <a:lnTo>
                      <a:pt x="364" y="198"/>
                    </a:lnTo>
                    <a:lnTo>
                      <a:pt x="345" y="208"/>
                    </a:lnTo>
                    <a:lnTo>
                      <a:pt x="326" y="224"/>
                    </a:lnTo>
                    <a:lnTo>
                      <a:pt x="324" y="241"/>
                    </a:lnTo>
                    <a:lnTo>
                      <a:pt x="317" y="255"/>
                    </a:lnTo>
                    <a:lnTo>
                      <a:pt x="310" y="257"/>
                    </a:lnTo>
                    <a:lnTo>
                      <a:pt x="293" y="248"/>
                    </a:lnTo>
                    <a:lnTo>
                      <a:pt x="274" y="252"/>
                    </a:lnTo>
                    <a:lnTo>
                      <a:pt x="267" y="269"/>
                    </a:lnTo>
                    <a:lnTo>
                      <a:pt x="265" y="295"/>
                    </a:lnTo>
                    <a:lnTo>
                      <a:pt x="258" y="316"/>
                    </a:lnTo>
                    <a:lnTo>
                      <a:pt x="241" y="319"/>
                    </a:lnTo>
                    <a:lnTo>
                      <a:pt x="229" y="314"/>
                    </a:lnTo>
                    <a:lnTo>
                      <a:pt x="218" y="300"/>
                    </a:lnTo>
                    <a:lnTo>
                      <a:pt x="201" y="290"/>
                    </a:lnTo>
                    <a:lnTo>
                      <a:pt x="185" y="304"/>
                    </a:lnTo>
                    <a:lnTo>
                      <a:pt x="175" y="319"/>
                    </a:lnTo>
                    <a:lnTo>
                      <a:pt x="125" y="316"/>
                    </a:lnTo>
                    <a:lnTo>
                      <a:pt x="107" y="328"/>
                    </a:lnTo>
                    <a:lnTo>
                      <a:pt x="90" y="333"/>
                    </a:lnTo>
                    <a:lnTo>
                      <a:pt x="69" y="342"/>
                    </a:lnTo>
                    <a:lnTo>
                      <a:pt x="57" y="364"/>
                    </a:lnTo>
                    <a:lnTo>
                      <a:pt x="40" y="385"/>
                    </a:lnTo>
                    <a:lnTo>
                      <a:pt x="24" y="408"/>
                    </a:lnTo>
                    <a:lnTo>
                      <a:pt x="7" y="425"/>
                    </a:lnTo>
                    <a:lnTo>
                      <a:pt x="7" y="441"/>
                    </a:lnTo>
                    <a:lnTo>
                      <a:pt x="12" y="453"/>
                    </a:lnTo>
                    <a:lnTo>
                      <a:pt x="7" y="467"/>
                    </a:lnTo>
                    <a:lnTo>
                      <a:pt x="0" y="496"/>
                    </a:lnTo>
                    <a:lnTo>
                      <a:pt x="3" y="515"/>
                    </a:lnTo>
                    <a:lnTo>
                      <a:pt x="19" y="534"/>
                    </a:lnTo>
                    <a:lnTo>
                      <a:pt x="33" y="545"/>
                    </a:lnTo>
                    <a:lnTo>
                      <a:pt x="40" y="569"/>
                    </a:lnTo>
                    <a:lnTo>
                      <a:pt x="55" y="586"/>
                    </a:lnTo>
                    <a:lnTo>
                      <a:pt x="78" y="609"/>
                    </a:lnTo>
                    <a:lnTo>
                      <a:pt x="97" y="619"/>
                    </a:lnTo>
                    <a:lnTo>
                      <a:pt x="114" y="623"/>
                    </a:lnTo>
                    <a:lnTo>
                      <a:pt x="125" y="645"/>
                    </a:lnTo>
                    <a:lnTo>
                      <a:pt x="128" y="673"/>
                    </a:lnTo>
                    <a:lnTo>
                      <a:pt x="121" y="697"/>
                    </a:lnTo>
                    <a:lnTo>
                      <a:pt x="104" y="715"/>
                    </a:lnTo>
                    <a:lnTo>
                      <a:pt x="95" y="732"/>
                    </a:lnTo>
                    <a:lnTo>
                      <a:pt x="97" y="749"/>
                    </a:lnTo>
                    <a:lnTo>
                      <a:pt x="102" y="763"/>
                    </a:lnTo>
                    <a:lnTo>
                      <a:pt x="111" y="770"/>
                    </a:lnTo>
                    <a:lnTo>
                      <a:pt x="130" y="777"/>
                    </a:lnTo>
                    <a:lnTo>
                      <a:pt x="149" y="779"/>
                    </a:lnTo>
                    <a:lnTo>
                      <a:pt x="170" y="779"/>
                    </a:lnTo>
                    <a:lnTo>
                      <a:pt x="192" y="775"/>
                    </a:lnTo>
                    <a:lnTo>
                      <a:pt x="211" y="770"/>
                    </a:lnTo>
                    <a:lnTo>
                      <a:pt x="246" y="767"/>
                    </a:lnTo>
                    <a:lnTo>
                      <a:pt x="272" y="767"/>
                    </a:lnTo>
                    <a:lnTo>
                      <a:pt x="286" y="758"/>
                    </a:lnTo>
                    <a:lnTo>
                      <a:pt x="298" y="749"/>
                    </a:lnTo>
                    <a:lnTo>
                      <a:pt x="314" y="744"/>
                    </a:lnTo>
                    <a:lnTo>
                      <a:pt x="338" y="746"/>
                    </a:lnTo>
                    <a:lnTo>
                      <a:pt x="357" y="756"/>
                    </a:lnTo>
                    <a:lnTo>
                      <a:pt x="376" y="770"/>
                    </a:lnTo>
                    <a:lnTo>
                      <a:pt x="395" y="777"/>
                    </a:lnTo>
                    <a:lnTo>
                      <a:pt x="416" y="784"/>
                    </a:lnTo>
                    <a:lnTo>
                      <a:pt x="430" y="803"/>
                    </a:lnTo>
                    <a:lnTo>
                      <a:pt x="437" y="824"/>
                    </a:lnTo>
                    <a:lnTo>
                      <a:pt x="437" y="843"/>
                    </a:lnTo>
                    <a:lnTo>
                      <a:pt x="430" y="857"/>
                    </a:lnTo>
                    <a:lnTo>
                      <a:pt x="425" y="862"/>
                    </a:lnTo>
                    <a:lnTo>
                      <a:pt x="425" y="874"/>
                    </a:lnTo>
                    <a:lnTo>
                      <a:pt x="428" y="890"/>
                    </a:lnTo>
                    <a:lnTo>
                      <a:pt x="442" y="907"/>
                    </a:lnTo>
                    <a:lnTo>
                      <a:pt x="442" y="930"/>
                    </a:lnTo>
                    <a:lnTo>
                      <a:pt x="437" y="956"/>
                    </a:lnTo>
                    <a:lnTo>
                      <a:pt x="428" y="973"/>
                    </a:lnTo>
                    <a:lnTo>
                      <a:pt x="418" y="987"/>
                    </a:lnTo>
                    <a:lnTo>
                      <a:pt x="416" y="1004"/>
                    </a:lnTo>
                    <a:lnTo>
                      <a:pt x="428" y="1018"/>
                    </a:lnTo>
                    <a:lnTo>
                      <a:pt x="449" y="1025"/>
                    </a:lnTo>
                    <a:lnTo>
                      <a:pt x="466" y="1037"/>
                    </a:lnTo>
                    <a:lnTo>
                      <a:pt x="473" y="1058"/>
                    </a:lnTo>
                    <a:lnTo>
                      <a:pt x="480" y="1075"/>
                    </a:lnTo>
                    <a:lnTo>
                      <a:pt x="492" y="1091"/>
                    </a:lnTo>
                    <a:lnTo>
                      <a:pt x="520" y="1108"/>
                    </a:lnTo>
                    <a:lnTo>
                      <a:pt x="553" y="1112"/>
                    </a:lnTo>
                    <a:lnTo>
                      <a:pt x="584" y="1110"/>
                    </a:lnTo>
                    <a:lnTo>
                      <a:pt x="600" y="1100"/>
                    </a:lnTo>
                    <a:lnTo>
                      <a:pt x="617" y="1089"/>
                    </a:lnTo>
                    <a:lnTo>
                      <a:pt x="638" y="1091"/>
                    </a:lnTo>
                    <a:lnTo>
                      <a:pt x="657" y="1108"/>
                    </a:lnTo>
                    <a:lnTo>
                      <a:pt x="678" y="1122"/>
                    </a:lnTo>
                    <a:lnTo>
                      <a:pt x="697" y="1129"/>
                    </a:lnTo>
                    <a:lnTo>
                      <a:pt x="716" y="1134"/>
                    </a:lnTo>
                    <a:lnTo>
                      <a:pt x="733" y="1150"/>
                    </a:lnTo>
                    <a:lnTo>
                      <a:pt x="749" y="1162"/>
                    </a:lnTo>
                    <a:lnTo>
                      <a:pt x="759" y="1174"/>
                    </a:lnTo>
                    <a:lnTo>
                      <a:pt x="773" y="1157"/>
                    </a:lnTo>
                    <a:lnTo>
                      <a:pt x="787" y="1136"/>
                    </a:lnTo>
                    <a:lnTo>
                      <a:pt x="808" y="1105"/>
                    </a:lnTo>
                    <a:lnTo>
                      <a:pt x="825" y="1070"/>
                    </a:lnTo>
                    <a:lnTo>
                      <a:pt x="829" y="1034"/>
                    </a:lnTo>
                    <a:lnTo>
                      <a:pt x="837" y="999"/>
                    </a:lnTo>
                    <a:lnTo>
                      <a:pt x="853" y="992"/>
                    </a:lnTo>
                    <a:lnTo>
                      <a:pt x="860" y="980"/>
                    </a:lnTo>
                    <a:lnTo>
                      <a:pt x="862" y="966"/>
                    </a:lnTo>
                    <a:lnTo>
                      <a:pt x="853" y="956"/>
                    </a:lnTo>
                    <a:lnTo>
                      <a:pt x="853" y="940"/>
                    </a:lnTo>
                    <a:lnTo>
                      <a:pt x="860" y="926"/>
                    </a:lnTo>
                    <a:lnTo>
                      <a:pt x="881" y="909"/>
                    </a:lnTo>
                    <a:lnTo>
                      <a:pt x="881" y="893"/>
                    </a:lnTo>
                    <a:lnTo>
                      <a:pt x="865" y="876"/>
                    </a:lnTo>
                    <a:lnTo>
                      <a:pt x="860" y="857"/>
                    </a:lnTo>
                    <a:lnTo>
                      <a:pt x="860" y="836"/>
                    </a:lnTo>
                    <a:lnTo>
                      <a:pt x="874" y="824"/>
                    </a:lnTo>
                    <a:lnTo>
                      <a:pt x="860" y="817"/>
                    </a:lnTo>
                    <a:lnTo>
                      <a:pt x="848" y="800"/>
                    </a:lnTo>
                    <a:lnTo>
                      <a:pt x="837" y="779"/>
                    </a:lnTo>
                    <a:lnTo>
                      <a:pt x="834" y="751"/>
                    </a:lnTo>
                    <a:lnTo>
                      <a:pt x="841" y="734"/>
                    </a:lnTo>
                    <a:lnTo>
                      <a:pt x="858" y="720"/>
                    </a:lnTo>
                    <a:lnTo>
                      <a:pt x="862" y="711"/>
                    </a:lnTo>
                    <a:lnTo>
                      <a:pt x="853" y="694"/>
                    </a:lnTo>
                    <a:lnTo>
                      <a:pt x="841" y="680"/>
                    </a:lnTo>
                    <a:lnTo>
                      <a:pt x="841" y="661"/>
                    </a:lnTo>
                    <a:lnTo>
                      <a:pt x="848" y="649"/>
                    </a:lnTo>
                    <a:lnTo>
                      <a:pt x="853" y="630"/>
                    </a:lnTo>
                    <a:lnTo>
                      <a:pt x="851" y="614"/>
                    </a:lnTo>
                    <a:lnTo>
                      <a:pt x="837" y="593"/>
                    </a:lnTo>
                    <a:lnTo>
                      <a:pt x="825" y="569"/>
                    </a:lnTo>
                    <a:lnTo>
                      <a:pt x="808" y="543"/>
                    </a:lnTo>
                    <a:lnTo>
                      <a:pt x="789" y="522"/>
                    </a:lnTo>
                    <a:lnTo>
                      <a:pt x="766" y="519"/>
                    </a:lnTo>
                    <a:lnTo>
                      <a:pt x="744" y="526"/>
                    </a:lnTo>
                    <a:lnTo>
                      <a:pt x="723" y="545"/>
                    </a:lnTo>
                    <a:lnTo>
                      <a:pt x="688" y="550"/>
                    </a:lnTo>
                    <a:lnTo>
                      <a:pt x="659" y="541"/>
                    </a:lnTo>
                    <a:lnTo>
                      <a:pt x="645" y="524"/>
                    </a:lnTo>
                    <a:lnTo>
                      <a:pt x="645" y="505"/>
                    </a:lnTo>
                    <a:lnTo>
                      <a:pt x="657" y="479"/>
                    </a:lnTo>
                    <a:lnTo>
                      <a:pt x="674" y="458"/>
                    </a:lnTo>
                    <a:lnTo>
                      <a:pt x="704" y="434"/>
                    </a:lnTo>
                    <a:lnTo>
                      <a:pt x="733" y="420"/>
                    </a:lnTo>
                    <a:lnTo>
                      <a:pt x="759" y="406"/>
                    </a:lnTo>
                    <a:lnTo>
                      <a:pt x="766" y="387"/>
                    </a:lnTo>
                    <a:lnTo>
                      <a:pt x="759" y="368"/>
                    </a:lnTo>
                    <a:lnTo>
                      <a:pt x="742" y="352"/>
                    </a:lnTo>
                    <a:lnTo>
                      <a:pt x="723" y="328"/>
                    </a:lnTo>
                    <a:lnTo>
                      <a:pt x="709" y="307"/>
                    </a:lnTo>
                    <a:lnTo>
                      <a:pt x="707" y="290"/>
                    </a:lnTo>
                    <a:lnTo>
                      <a:pt x="714" y="264"/>
                    </a:lnTo>
                    <a:lnTo>
                      <a:pt x="728" y="260"/>
                    </a:lnTo>
                    <a:lnTo>
                      <a:pt x="742" y="267"/>
                    </a:lnTo>
                    <a:lnTo>
                      <a:pt x="761" y="264"/>
                    </a:lnTo>
                    <a:lnTo>
                      <a:pt x="770" y="243"/>
                    </a:lnTo>
                    <a:lnTo>
                      <a:pt x="768" y="224"/>
                    </a:lnTo>
                    <a:lnTo>
                      <a:pt x="770" y="210"/>
                    </a:lnTo>
                    <a:lnTo>
                      <a:pt x="780" y="198"/>
                    </a:lnTo>
                    <a:lnTo>
                      <a:pt x="789" y="179"/>
                    </a:lnTo>
                    <a:lnTo>
                      <a:pt x="792" y="163"/>
                    </a:lnTo>
                    <a:lnTo>
                      <a:pt x="787" y="149"/>
                    </a:lnTo>
                    <a:lnTo>
                      <a:pt x="782" y="134"/>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32" name="Freeform 31"/>
              <p:cNvSpPr>
                <a:spLocks/>
              </p:cNvSpPr>
              <p:nvPr/>
            </p:nvSpPr>
            <p:spPr bwMode="gray">
              <a:xfrm>
                <a:off x="-7050088" y="3957638"/>
                <a:ext cx="608012" cy="487363"/>
              </a:xfrm>
              <a:custGeom>
                <a:avLst/>
                <a:gdLst/>
                <a:ahLst/>
                <a:cxnLst>
                  <a:cxn ang="0">
                    <a:pos x="36" y="26"/>
                  </a:cxn>
                  <a:cxn ang="0">
                    <a:pos x="5" y="42"/>
                  </a:cxn>
                  <a:cxn ang="0">
                    <a:pos x="7" y="78"/>
                  </a:cxn>
                  <a:cxn ang="0">
                    <a:pos x="48" y="87"/>
                  </a:cxn>
                  <a:cxn ang="0">
                    <a:pos x="78" y="104"/>
                  </a:cxn>
                  <a:cxn ang="0">
                    <a:pos x="85" y="134"/>
                  </a:cxn>
                  <a:cxn ang="0">
                    <a:pos x="95" y="182"/>
                  </a:cxn>
                  <a:cxn ang="0">
                    <a:pos x="133" y="229"/>
                  </a:cxn>
                  <a:cxn ang="0">
                    <a:pos x="161" y="274"/>
                  </a:cxn>
                  <a:cxn ang="0">
                    <a:pos x="187" y="257"/>
                  </a:cxn>
                  <a:cxn ang="0">
                    <a:pos x="208" y="238"/>
                  </a:cxn>
                  <a:cxn ang="0">
                    <a:pos x="227" y="267"/>
                  </a:cxn>
                  <a:cxn ang="0">
                    <a:pos x="246" y="295"/>
                  </a:cxn>
                  <a:cxn ang="0">
                    <a:pos x="267" y="283"/>
                  </a:cxn>
                  <a:cxn ang="0">
                    <a:pos x="286" y="286"/>
                  </a:cxn>
                  <a:cxn ang="0">
                    <a:pos x="317" y="307"/>
                  </a:cxn>
                  <a:cxn ang="0">
                    <a:pos x="357" y="300"/>
                  </a:cxn>
                  <a:cxn ang="0">
                    <a:pos x="369" y="274"/>
                  </a:cxn>
                  <a:cxn ang="0">
                    <a:pos x="359" y="243"/>
                  </a:cxn>
                  <a:cxn ang="0">
                    <a:pos x="378" y="212"/>
                  </a:cxn>
                  <a:cxn ang="0">
                    <a:pos x="383" y="163"/>
                  </a:cxn>
                  <a:cxn ang="0">
                    <a:pos x="366" y="130"/>
                  </a:cxn>
                  <a:cxn ang="0">
                    <a:pos x="371" y="113"/>
                  </a:cxn>
                  <a:cxn ang="0">
                    <a:pos x="378" y="80"/>
                  </a:cxn>
                  <a:cxn ang="0">
                    <a:pos x="357" y="40"/>
                  </a:cxn>
                  <a:cxn ang="0">
                    <a:pos x="317" y="26"/>
                  </a:cxn>
                  <a:cxn ang="0">
                    <a:pos x="279" y="2"/>
                  </a:cxn>
                  <a:cxn ang="0">
                    <a:pos x="239" y="5"/>
                  </a:cxn>
                  <a:cxn ang="0">
                    <a:pos x="213" y="23"/>
                  </a:cxn>
                  <a:cxn ang="0">
                    <a:pos x="152" y="26"/>
                  </a:cxn>
                  <a:cxn ang="0">
                    <a:pos x="111" y="35"/>
                  </a:cxn>
                  <a:cxn ang="0">
                    <a:pos x="71" y="33"/>
                  </a:cxn>
                  <a:cxn ang="0">
                    <a:pos x="43" y="19"/>
                  </a:cxn>
                </a:cxnLst>
                <a:rect l="0" t="0" r="r" b="b"/>
                <a:pathLst>
                  <a:path w="383" h="307">
                    <a:moveTo>
                      <a:pt x="43" y="19"/>
                    </a:moveTo>
                    <a:lnTo>
                      <a:pt x="36" y="26"/>
                    </a:lnTo>
                    <a:lnTo>
                      <a:pt x="14" y="33"/>
                    </a:lnTo>
                    <a:lnTo>
                      <a:pt x="5" y="42"/>
                    </a:lnTo>
                    <a:lnTo>
                      <a:pt x="0" y="59"/>
                    </a:lnTo>
                    <a:lnTo>
                      <a:pt x="7" y="78"/>
                    </a:lnTo>
                    <a:lnTo>
                      <a:pt x="31" y="90"/>
                    </a:lnTo>
                    <a:lnTo>
                      <a:pt x="48" y="87"/>
                    </a:lnTo>
                    <a:lnTo>
                      <a:pt x="66" y="92"/>
                    </a:lnTo>
                    <a:lnTo>
                      <a:pt x="78" y="104"/>
                    </a:lnTo>
                    <a:lnTo>
                      <a:pt x="85" y="116"/>
                    </a:lnTo>
                    <a:lnTo>
                      <a:pt x="85" y="134"/>
                    </a:lnTo>
                    <a:lnTo>
                      <a:pt x="83" y="156"/>
                    </a:lnTo>
                    <a:lnTo>
                      <a:pt x="95" y="182"/>
                    </a:lnTo>
                    <a:lnTo>
                      <a:pt x="118" y="208"/>
                    </a:lnTo>
                    <a:lnTo>
                      <a:pt x="133" y="229"/>
                    </a:lnTo>
                    <a:lnTo>
                      <a:pt x="142" y="260"/>
                    </a:lnTo>
                    <a:lnTo>
                      <a:pt x="161" y="274"/>
                    </a:lnTo>
                    <a:lnTo>
                      <a:pt x="175" y="271"/>
                    </a:lnTo>
                    <a:lnTo>
                      <a:pt x="187" y="257"/>
                    </a:lnTo>
                    <a:lnTo>
                      <a:pt x="194" y="241"/>
                    </a:lnTo>
                    <a:lnTo>
                      <a:pt x="208" y="238"/>
                    </a:lnTo>
                    <a:lnTo>
                      <a:pt x="222" y="250"/>
                    </a:lnTo>
                    <a:lnTo>
                      <a:pt x="227" y="267"/>
                    </a:lnTo>
                    <a:lnTo>
                      <a:pt x="234" y="281"/>
                    </a:lnTo>
                    <a:lnTo>
                      <a:pt x="246" y="295"/>
                    </a:lnTo>
                    <a:lnTo>
                      <a:pt x="258" y="295"/>
                    </a:lnTo>
                    <a:lnTo>
                      <a:pt x="267" y="283"/>
                    </a:lnTo>
                    <a:lnTo>
                      <a:pt x="277" y="279"/>
                    </a:lnTo>
                    <a:lnTo>
                      <a:pt x="286" y="286"/>
                    </a:lnTo>
                    <a:lnTo>
                      <a:pt x="296" y="297"/>
                    </a:lnTo>
                    <a:lnTo>
                      <a:pt x="317" y="307"/>
                    </a:lnTo>
                    <a:lnTo>
                      <a:pt x="340" y="307"/>
                    </a:lnTo>
                    <a:lnTo>
                      <a:pt x="357" y="300"/>
                    </a:lnTo>
                    <a:lnTo>
                      <a:pt x="364" y="288"/>
                    </a:lnTo>
                    <a:lnTo>
                      <a:pt x="369" y="274"/>
                    </a:lnTo>
                    <a:lnTo>
                      <a:pt x="357" y="260"/>
                    </a:lnTo>
                    <a:lnTo>
                      <a:pt x="359" y="243"/>
                    </a:lnTo>
                    <a:lnTo>
                      <a:pt x="369" y="229"/>
                    </a:lnTo>
                    <a:lnTo>
                      <a:pt x="378" y="212"/>
                    </a:lnTo>
                    <a:lnTo>
                      <a:pt x="383" y="186"/>
                    </a:lnTo>
                    <a:lnTo>
                      <a:pt x="383" y="163"/>
                    </a:lnTo>
                    <a:lnTo>
                      <a:pt x="369" y="146"/>
                    </a:lnTo>
                    <a:lnTo>
                      <a:pt x="366" y="130"/>
                    </a:lnTo>
                    <a:lnTo>
                      <a:pt x="366" y="118"/>
                    </a:lnTo>
                    <a:lnTo>
                      <a:pt x="371" y="113"/>
                    </a:lnTo>
                    <a:lnTo>
                      <a:pt x="378" y="99"/>
                    </a:lnTo>
                    <a:lnTo>
                      <a:pt x="378" y="80"/>
                    </a:lnTo>
                    <a:lnTo>
                      <a:pt x="371" y="59"/>
                    </a:lnTo>
                    <a:lnTo>
                      <a:pt x="357" y="40"/>
                    </a:lnTo>
                    <a:lnTo>
                      <a:pt x="336" y="33"/>
                    </a:lnTo>
                    <a:lnTo>
                      <a:pt x="317" y="26"/>
                    </a:lnTo>
                    <a:lnTo>
                      <a:pt x="298" y="12"/>
                    </a:lnTo>
                    <a:lnTo>
                      <a:pt x="279" y="2"/>
                    </a:lnTo>
                    <a:lnTo>
                      <a:pt x="255" y="0"/>
                    </a:lnTo>
                    <a:lnTo>
                      <a:pt x="239" y="5"/>
                    </a:lnTo>
                    <a:lnTo>
                      <a:pt x="227" y="14"/>
                    </a:lnTo>
                    <a:lnTo>
                      <a:pt x="213" y="23"/>
                    </a:lnTo>
                    <a:lnTo>
                      <a:pt x="187" y="23"/>
                    </a:lnTo>
                    <a:lnTo>
                      <a:pt x="152" y="26"/>
                    </a:lnTo>
                    <a:lnTo>
                      <a:pt x="133" y="31"/>
                    </a:lnTo>
                    <a:lnTo>
                      <a:pt x="111" y="35"/>
                    </a:lnTo>
                    <a:lnTo>
                      <a:pt x="90" y="35"/>
                    </a:lnTo>
                    <a:lnTo>
                      <a:pt x="71" y="33"/>
                    </a:lnTo>
                    <a:lnTo>
                      <a:pt x="52" y="26"/>
                    </a:lnTo>
                    <a:lnTo>
                      <a:pt x="43" y="19"/>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33" name="Freeform 32"/>
              <p:cNvSpPr>
                <a:spLocks/>
              </p:cNvSpPr>
              <p:nvPr/>
            </p:nvSpPr>
            <p:spPr bwMode="gray">
              <a:xfrm>
                <a:off x="-6461125" y="3863975"/>
                <a:ext cx="1879600" cy="2081213"/>
              </a:xfrm>
              <a:custGeom>
                <a:avLst/>
                <a:gdLst/>
                <a:ahLst/>
                <a:cxnLst>
                  <a:cxn ang="0">
                    <a:pos x="624" y="156"/>
                  </a:cxn>
                  <a:cxn ang="0">
                    <a:pos x="581" y="222"/>
                  </a:cxn>
                  <a:cxn ang="0">
                    <a:pos x="574" y="186"/>
                  </a:cxn>
                  <a:cxn ang="0">
                    <a:pos x="546" y="158"/>
                  </a:cxn>
                  <a:cxn ang="0">
                    <a:pos x="501" y="104"/>
                  </a:cxn>
                  <a:cxn ang="0">
                    <a:pos x="430" y="151"/>
                  </a:cxn>
                  <a:cxn ang="0">
                    <a:pos x="430" y="241"/>
                  </a:cxn>
                  <a:cxn ang="0">
                    <a:pos x="423" y="307"/>
                  </a:cxn>
                  <a:cxn ang="0">
                    <a:pos x="357" y="451"/>
                  </a:cxn>
                  <a:cxn ang="0">
                    <a:pos x="300" y="555"/>
                  </a:cxn>
                  <a:cxn ang="0">
                    <a:pos x="246" y="612"/>
                  </a:cxn>
                  <a:cxn ang="0">
                    <a:pos x="156" y="723"/>
                  </a:cxn>
                  <a:cxn ang="0">
                    <a:pos x="106" y="864"/>
                  </a:cxn>
                  <a:cxn ang="0">
                    <a:pos x="55" y="982"/>
                  </a:cxn>
                  <a:cxn ang="0">
                    <a:pos x="38" y="1103"/>
                  </a:cxn>
                  <a:cxn ang="0">
                    <a:pos x="7" y="1176"/>
                  </a:cxn>
                  <a:cxn ang="0">
                    <a:pos x="57" y="1238"/>
                  </a:cxn>
                  <a:cxn ang="0">
                    <a:pos x="92" y="1289"/>
                  </a:cxn>
                  <a:cxn ang="0">
                    <a:pos x="144" y="1273"/>
                  </a:cxn>
                  <a:cxn ang="0">
                    <a:pos x="244" y="1261"/>
                  </a:cxn>
                  <a:cxn ang="0">
                    <a:pos x="310" y="1275"/>
                  </a:cxn>
                  <a:cxn ang="0">
                    <a:pos x="390" y="1271"/>
                  </a:cxn>
                  <a:cxn ang="0">
                    <a:pos x="340" y="1235"/>
                  </a:cxn>
                  <a:cxn ang="0">
                    <a:pos x="404" y="1155"/>
                  </a:cxn>
                  <a:cxn ang="0">
                    <a:pos x="470" y="1178"/>
                  </a:cxn>
                  <a:cxn ang="0">
                    <a:pos x="480" y="1219"/>
                  </a:cxn>
                  <a:cxn ang="0">
                    <a:pos x="508" y="1233"/>
                  </a:cxn>
                  <a:cxn ang="0">
                    <a:pos x="588" y="1212"/>
                  </a:cxn>
                  <a:cxn ang="0">
                    <a:pos x="657" y="1249"/>
                  </a:cxn>
                  <a:cxn ang="0">
                    <a:pos x="617" y="1193"/>
                  </a:cxn>
                  <a:cxn ang="0">
                    <a:pos x="624" y="1171"/>
                  </a:cxn>
                  <a:cxn ang="0">
                    <a:pos x="733" y="1233"/>
                  </a:cxn>
                  <a:cxn ang="0">
                    <a:pos x="808" y="1259"/>
                  </a:cxn>
                  <a:cxn ang="0">
                    <a:pos x="898" y="1306"/>
                  </a:cxn>
                  <a:cxn ang="0">
                    <a:pos x="971" y="1259"/>
                  </a:cxn>
                  <a:cxn ang="0">
                    <a:pos x="1009" y="1214"/>
                  </a:cxn>
                  <a:cxn ang="0">
                    <a:pos x="1028" y="1089"/>
                  </a:cxn>
                  <a:cxn ang="0">
                    <a:pos x="1033" y="954"/>
                  </a:cxn>
                  <a:cxn ang="0">
                    <a:pos x="999" y="822"/>
                  </a:cxn>
                  <a:cxn ang="0">
                    <a:pos x="1089" y="789"/>
                  </a:cxn>
                  <a:cxn ang="0">
                    <a:pos x="1101" y="697"/>
                  </a:cxn>
                  <a:cxn ang="0">
                    <a:pos x="1141" y="697"/>
                  </a:cxn>
                  <a:cxn ang="0">
                    <a:pos x="1148" y="633"/>
                  </a:cxn>
                  <a:cxn ang="0">
                    <a:pos x="1174" y="529"/>
                  </a:cxn>
                  <a:cxn ang="0">
                    <a:pos x="1089" y="408"/>
                  </a:cxn>
                  <a:cxn ang="0">
                    <a:pos x="1073" y="260"/>
                  </a:cxn>
                  <a:cxn ang="0">
                    <a:pos x="1042" y="167"/>
                  </a:cxn>
                  <a:cxn ang="0">
                    <a:pos x="985" y="160"/>
                  </a:cxn>
                  <a:cxn ang="0">
                    <a:pos x="952" y="80"/>
                  </a:cxn>
                  <a:cxn ang="0">
                    <a:pos x="886" y="19"/>
                  </a:cxn>
                  <a:cxn ang="0">
                    <a:pos x="740" y="14"/>
                  </a:cxn>
                  <a:cxn ang="0">
                    <a:pos x="773" y="82"/>
                  </a:cxn>
                  <a:cxn ang="0">
                    <a:pos x="678" y="113"/>
                  </a:cxn>
                </a:cxnLst>
                <a:rect l="0" t="0" r="r" b="b"/>
                <a:pathLst>
                  <a:path w="1184" h="1311">
                    <a:moveTo>
                      <a:pt x="669" y="101"/>
                    </a:moveTo>
                    <a:lnTo>
                      <a:pt x="655" y="118"/>
                    </a:lnTo>
                    <a:lnTo>
                      <a:pt x="647" y="127"/>
                    </a:lnTo>
                    <a:lnTo>
                      <a:pt x="631" y="141"/>
                    </a:lnTo>
                    <a:lnTo>
                      <a:pt x="624" y="156"/>
                    </a:lnTo>
                    <a:lnTo>
                      <a:pt x="624" y="177"/>
                    </a:lnTo>
                    <a:lnTo>
                      <a:pt x="624" y="196"/>
                    </a:lnTo>
                    <a:lnTo>
                      <a:pt x="619" y="212"/>
                    </a:lnTo>
                    <a:lnTo>
                      <a:pt x="605" y="217"/>
                    </a:lnTo>
                    <a:lnTo>
                      <a:pt x="581" y="222"/>
                    </a:lnTo>
                    <a:lnTo>
                      <a:pt x="558" y="219"/>
                    </a:lnTo>
                    <a:lnTo>
                      <a:pt x="551" y="210"/>
                    </a:lnTo>
                    <a:lnTo>
                      <a:pt x="553" y="198"/>
                    </a:lnTo>
                    <a:lnTo>
                      <a:pt x="562" y="189"/>
                    </a:lnTo>
                    <a:lnTo>
                      <a:pt x="574" y="186"/>
                    </a:lnTo>
                    <a:lnTo>
                      <a:pt x="584" y="175"/>
                    </a:lnTo>
                    <a:lnTo>
                      <a:pt x="584" y="167"/>
                    </a:lnTo>
                    <a:lnTo>
                      <a:pt x="577" y="156"/>
                    </a:lnTo>
                    <a:lnTo>
                      <a:pt x="560" y="151"/>
                    </a:lnTo>
                    <a:lnTo>
                      <a:pt x="546" y="158"/>
                    </a:lnTo>
                    <a:lnTo>
                      <a:pt x="527" y="160"/>
                    </a:lnTo>
                    <a:lnTo>
                      <a:pt x="510" y="151"/>
                    </a:lnTo>
                    <a:lnTo>
                      <a:pt x="508" y="141"/>
                    </a:lnTo>
                    <a:lnTo>
                      <a:pt x="508" y="123"/>
                    </a:lnTo>
                    <a:lnTo>
                      <a:pt x="501" y="104"/>
                    </a:lnTo>
                    <a:lnTo>
                      <a:pt x="492" y="101"/>
                    </a:lnTo>
                    <a:lnTo>
                      <a:pt x="477" y="106"/>
                    </a:lnTo>
                    <a:lnTo>
                      <a:pt x="461" y="137"/>
                    </a:lnTo>
                    <a:lnTo>
                      <a:pt x="444" y="139"/>
                    </a:lnTo>
                    <a:lnTo>
                      <a:pt x="430" y="151"/>
                    </a:lnTo>
                    <a:lnTo>
                      <a:pt x="430" y="172"/>
                    </a:lnTo>
                    <a:lnTo>
                      <a:pt x="435" y="191"/>
                    </a:lnTo>
                    <a:lnTo>
                      <a:pt x="451" y="208"/>
                    </a:lnTo>
                    <a:lnTo>
                      <a:pt x="451" y="224"/>
                    </a:lnTo>
                    <a:lnTo>
                      <a:pt x="430" y="241"/>
                    </a:lnTo>
                    <a:lnTo>
                      <a:pt x="423" y="255"/>
                    </a:lnTo>
                    <a:lnTo>
                      <a:pt x="423" y="271"/>
                    </a:lnTo>
                    <a:lnTo>
                      <a:pt x="432" y="281"/>
                    </a:lnTo>
                    <a:lnTo>
                      <a:pt x="430" y="295"/>
                    </a:lnTo>
                    <a:lnTo>
                      <a:pt x="423" y="307"/>
                    </a:lnTo>
                    <a:lnTo>
                      <a:pt x="407" y="314"/>
                    </a:lnTo>
                    <a:lnTo>
                      <a:pt x="399" y="349"/>
                    </a:lnTo>
                    <a:lnTo>
                      <a:pt x="395" y="385"/>
                    </a:lnTo>
                    <a:lnTo>
                      <a:pt x="378" y="420"/>
                    </a:lnTo>
                    <a:lnTo>
                      <a:pt x="357" y="451"/>
                    </a:lnTo>
                    <a:lnTo>
                      <a:pt x="343" y="472"/>
                    </a:lnTo>
                    <a:lnTo>
                      <a:pt x="329" y="489"/>
                    </a:lnTo>
                    <a:lnTo>
                      <a:pt x="317" y="508"/>
                    </a:lnTo>
                    <a:lnTo>
                      <a:pt x="303" y="529"/>
                    </a:lnTo>
                    <a:lnTo>
                      <a:pt x="300" y="555"/>
                    </a:lnTo>
                    <a:lnTo>
                      <a:pt x="295" y="578"/>
                    </a:lnTo>
                    <a:lnTo>
                      <a:pt x="291" y="595"/>
                    </a:lnTo>
                    <a:lnTo>
                      <a:pt x="284" y="602"/>
                    </a:lnTo>
                    <a:lnTo>
                      <a:pt x="265" y="609"/>
                    </a:lnTo>
                    <a:lnTo>
                      <a:pt x="246" y="612"/>
                    </a:lnTo>
                    <a:lnTo>
                      <a:pt x="232" y="621"/>
                    </a:lnTo>
                    <a:lnTo>
                      <a:pt x="213" y="645"/>
                    </a:lnTo>
                    <a:lnTo>
                      <a:pt x="187" y="671"/>
                    </a:lnTo>
                    <a:lnTo>
                      <a:pt x="170" y="697"/>
                    </a:lnTo>
                    <a:lnTo>
                      <a:pt x="156" y="723"/>
                    </a:lnTo>
                    <a:lnTo>
                      <a:pt x="147" y="760"/>
                    </a:lnTo>
                    <a:lnTo>
                      <a:pt x="135" y="786"/>
                    </a:lnTo>
                    <a:lnTo>
                      <a:pt x="123" y="805"/>
                    </a:lnTo>
                    <a:lnTo>
                      <a:pt x="111" y="831"/>
                    </a:lnTo>
                    <a:lnTo>
                      <a:pt x="106" y="864"/>
                    </a:lnTo>
                    <a:lnTo>
                      <a:pt x="104" y="878"/>
                    </a:lnTo>
                    <a:lnTo>
                      <a:pt x="95" y="904"/>
                    </a:lnTo>
                    <a:lnTo>
                      <a:pt x="76" y="935"/>
                    </a:lnTo>
                    <a:lnTo>
                      <a:pt x="62" y="961"/>
                    </a:lnTo>
                    <a:lnTo>
                      <a:pt x="55" y="982"/>
                    </a:lnTo>
                    <a:lnTo>
                      <a:pt x="52" y="1001"/>
                    </a:lnTo>
                    <a:lnTo>
                      <a:pt x="52" y="1051"/>
                    </a:lnTo>
                    <a:lnTo>
                      <a:pt x="50" y="1072"/>
                    </a:lnTo>
                    <a:lnTo>
                      <a:pt x="45" y="1089"/>
                    </a:lnTo>
                    <a:lnTo>
                      <a:pt x="38" y="1103"/>
                    </a:lnTo>
                    <a:lnTo>
                      <a:pt x="19" y="1115"/>
                    </a:lnTo>
                    <a:lnTo>
                      <a:pt x="7" y="1124"/>
                    </a:lnTo>
                    <a:lnTo>
                      <a:pt x="0" y="1138"/>
                    </a:lnTo>
                    <a:lnTo>
                      <a:pt x="3" y="1157"/>
                    </a:lnTo>
                    <a:lnTo>
                      <a:pt x="7" y="1176"/>
                    </a:lnTo>
                    <a:lnTo>
                      <a:pt x="12" y="1193"/>
                    </a:lnTo>
                    <a:lnTo>
                      <a:pt x="17" y="1219"/>
                    </a:lnTo>
                    <a:lnTo>
                      <a:pt x="21" y="1233"/>
                    </a:lnTo>
                    <a:lnTo>
                      <a:pt x="36" y="1238"/>
                    </a:lnTo>
                    <a:lnTo>
                      <a:pt x="57" y="1238"/>
                    </a:lnTo>
                    <a:lnTo>
                      <a:pt x="69" y="1233"/>
                    </a:lnTo>
                    <a:lnTo>
                      <a:pt x="83" y="1238"/>
                    </a:lnTo>
                    <a:lnTo>
                      <a:pt x="88" y="1254"/>
                    </a:lnTo>
                    <a:lnTo>
                      <a:pt x="88" y="1273"/>
                    </a:lnTo>
                    <a:lnTo>
                      <a:pt x="92" y="1289"/>
                    </a:lnTo>
                    <a:lnTo>
                      <a:pt x="104" y="1297"/>
                    </a:lnTo>
                    <a:lnTo>
                      <a:pt x="116" y="1294"/>
                    </a:lnTo>
                    <a:lnTo>
                      <a:pt x="125" y="1285"/>
                    </a:lnTo>
                    <a:lnTo>
                      <a:pt x="132" y="1273"/>
                    </a:lnTo>
                    <a:lnTo>
                      <a:pt x="144" y="1273"/>
                    </a:lnTo>
                    <a:lnTo>
                      <a:pt x="156" y="1278"/>
                    </a:lnTo>
                    <a:lnTo>
                      <a:pt x="170" y="1282"/>
                    </a:lnTo>
                    <a:lnTo>
                      <a:pt x="201" y="1282"/>
                    </a:lnTo>
                    <a:lnTo>
                      <a:pt x="225" y="1280"/>
                    </a:lnTo>
                    <a:lnTo>
                      <a:pt x="244" y="1261"/>
                    </a:lnTo>
                    <a:lnTo>
                      <a:pt x="251" y="1249"/>
                    </a:lnTo>
                    <a:lnTo>
                      <a:pt x="265" y="1242"/>
                    </a:lnTo>
                    <a:lnTo>
                      <a:pt x="281" y="1245"/>
                    </a:lnTo>
                    <a:lnTo>
                      <a:pt x="295" y="1259"/>
                    </a:lnTo>
                    <a:lnTo>
                      <a:pt x="310" y="1275"/>
                    </a:lnTo>
                    <a:lnTo>
                      <a:pt x="324" y="1285"/>
                    </a:lnTo>
                    <a:lnTo>
                      <a:pt x="338" y="1287"/>
                    </a:lnTo>
                    <a:lnTo>
                      <a:pt x="369" y="1287"/>
                    </a:lnTo>
                    <a:lnTo>
                      <a:pt x="385" y="1282"/>
                    </a:lnTo>
                    <a:lnTo>
                      <a:pt x="390" y="1271"/>
                    </a:lnTo>
                    <a:lnTo>
                      <a:pt x="388" y="1261"/>
                    </a:lnTo>
                    <a:lnTo>
                      <a:pt x="373" y="1252"/>
                    </a:lnTo>
                    <a:lnTo>
                      <a:pt x="357" y="1252"/>
                    </a:lnTo>
                    <a:lnTo>
                      <a:pt x="345" y="1247"/>
                    </a:lnTo>
                    <a:lnTo>
                      <a:pt x="340" y="1235"/>
                    </a:lnTo>
                    <a:lnTo>
                      <a:pt x="345" y="1221"/>
                    </a:lnTo>
                    <a:lnTo>
                      <a:pt x="362" y="1202"/>
                    </a:lnTo>
                    <a:lnTo>
                      <a:pt x="381" y="1178"/>
                    </a:lnTo>
                    <a:lnTo>
                      <a:pt x="392" y="1162"/>
                    </a:lnTo>
                    <a:lnTo>
                      <a:pt x="404" y="1155"/>
                    </a:lnTo>
                    <a:lnTo>
                      <a:pt x="414" y="1155"/>
                    </a:lnTo>
                    <a:lnTo>
                      <a:pt x="428" y="1162"/>
                    </a:lnTo>
                    <a:lnTo>
                      <a:pt x="435" y="1171"/>
                    </a:lnTo>
                    <a:lnTo>
                      <a:pt x="454" y="1176"/>
                    </a:lnTo>
                    <a:lnTo>
                      <a:pt x="470" y="1178"/>
                    </a:lnTo>
                    <a:lnTo>
                      <a:pt x="487" y="1181"/>
                    </a:lnTo>
                    <a:lnTo>
                      <a:pt x="499" y="1190"/>
                    </a:lnTo>
                    <a:lnTo>
                      <a:pt x="499" y="1197"/>
                    </a:lnTo>
                    <a:lnTo>
                      <a:pt x="489" y="1212"/>
                    </a:lnTo>
                    <a:lnTo>
                      <a:pt x="480" y="1219"/>
                    </a:lnTo>
                    <a:lnTo>
                      <a:pt x="473" y="1228"/>
                    </a:lnTo>
                    <a:lnTo>
                      <a:pt x="468" y="1245"/>
                    </a:lnTo>
                    <a:lnTo>
                      <a:pt x="480" y="1254"/>
                    </a:lnTo>
                    <a:lnTo>
                      <a:pt x="496" y="1247"/>
                    </a:lnTo>
                    <a:lnTo>
                      <a:pt x="508" y="1233"/>
                    </a:lnTo>
                    <a:lnTo>
                      <a:pt x="513" y="1219"/>
                    </a:lnTo>
                    <a:lnTo>
                      <a:pt x="520" y="1212"/>
                    </a:lnTo>
                    <a:lnTo>
                      <a:pt x="536" y="1212"/>
                    </a:lnTo>
                    <a:lnTo>
                      <a:pt x="567" y="1214"/>
                    </a:lnTo>
                    <a:lnTo>
                      <a:pt x="588" y="1212"/>
                    </a:lnTo>
                    <a:lnTo>
                      <a:pt x="598" y="1207"/>
                    </a:lnTo>
                    <a:lnTo>
                      <a:pt x="612" y="1209"/>
                    </a:lnTo>
                    <a:lnTo>
                      <a:pt x="624" y="1221"/>
                    </a:lnTo>
                    <a:lnTo>
                      <a:pt x="640" y="1238"/>
                    </a:lnTo>
                    <a:lnTo>
                      <a:pt x="657" y="1249"/>
                    </a:lnTo>
                    <a:lnTo>
                      <a:pt x="669" y="1254"/>
                    </a:lnTo>
                    <a:lnTo>
                      <a:pt x="671" y="1240"/>
                    </a:lnTo>
                    <a:lnTo>
                      <a:pt x="659" y="1226"/>
                    </a:lnTo>
                    <a:lnTo>
                      <a:pt x="643" y="1212"/>
                    </a:lnTo>
                    <a:lnTo>
                      <a:pt x="617" y="1193"/>
                    </a:lnTo>
                    <a:lnTo>
                      <a:pt x="600" y="1183"/>
                    </a:lnTo>
                    <a:lnTo>
                      <a:pt x="591" y="1169"/>
                    </a:lnTo>
                    <a:lnTo>
                      <a:pt x="598" y="1160"/>
                    </a:lnTo>
                    <a:lnTo>
                      <a:pt x="617" y="1164"/>
                    </a:lnTo>
                    <a:lnTo>
                      <a:pt x="624" y="1171"/>
                    </a:lnTo>
                    <a:lnTo>
                      <a:pt x="643" y="1190"/>
                    </a:lnTo>
                    <a:lnTo>
                      <a:pt x="662" y="1204"/>
                    </a:lnTo>
                    <a:lnTo>
                      <a:pt x="678" y="1219"/>
                    </a:lnTo>
                    <a:lnTo>
                      <a:pt x="707" y="1230"/>
                    </a:lnTo>
                    <a:lnTo>
                      <a:pt x="733" y="1233"/>
                    </a:lnTo>
                    <a:lnTo>
                      <a:pt x="747" y="1238"/>
                    </a:lnTo>
                    <a:lnTo>
                      <a:pt x="756" y="1247"/>
                    </a:lnTo>
                    <a:lnTo>
                      <a:pt x="768" y="1252"/>
                    </a:lnTo>
                    <a:lnTo>
                      <a:pt x="792" y="1252"/>
                    </a:lnTo>
                    <a:lnTo>
                      <a:pt x="808" y="1259"/>
                    </a:lnTo>
                    <a:lnTo>
                      <a:pt x="827" y="1282"/>
                    </a:lnTo>
                    <a:lnTo>
                      <a:pt x="839" y="1294"/>
                    </a:lnTo>
                    <a:lnTo>
                      <a:pt x="860" y="1306"/>
                    </a:lnTo>
                    <a:lnTo>
                      <a:pt x="877" y="1311"/>
                    </a:lnTo>
                    <a:lnTo>
                      <a:pt x="898" y="1306"/>
                    </a:lnTo>
                    <a:lnTo>
                      <a:pt x="917" y="1297"/>
                    </a:lnTo>
                    <a:lnTo>
                      <a:pt x="924" y="1282"/>
                    </a:lnTo>
                    <a:lnTo>
                      <a:pt x="936" y="1259"/>
                    </a:lnTo>
                    <a:lnTo>
                      <a:pt x="952" y="1247"/>
                    </a:lnTo>
                    <a:lnTo>
                      <a:pt x="971" y="1259"/>
                    </a:lnTo>
                    <a:lnTo>
                      <a:pt x="992" y="1271"/>
                    </a:lnTo>
                    <a:lnTo>
                      <a:pt x="1018" y="1261"/>
                    </a:lnTo>
                    <a:lnTo>
                      <a:pt x="1028" y="1242"/>
                    </a:lnTo>
                    <a:lnTo>
                      <a:pt x="1023" y="1226"/>
                    </a:lnTo>
                    <a:lnTo>
                      <a:pt x="1009" y="1214"/>
                    </a:lnTo>
                    <a:lnTo>
                      <a:pt x="1009" y="1195"/>
                    </a:lnTo>
                    <a:lnTo>
                      <a:pt x="1021" y="1183"/>
                    </a:lnTo>
                    <a:lnTo>
                      <a:pt x="1023" y="1150"/>
                    </a:lnTo>
                    <a:lnTo>
                      <a:pt x="1030" y="1126"/>
                    </a:lnTo>
                    <a:lnTo>
                      <a:pt x="1028" y="1089"/>
                    </a:lnTo>
                    <a:lnTo>
                      <a:pt x="1023" y="1060"/>
                    </a:lnTo>
                    <a:lnTo>
                      <a:pt x="1016" y="1030"/>
                    </a:lnTo>
                    <a:lnTo>
                      <a:pt x="1018" y="1004"/>
                    </a:lnTo>
                    <a:lnTo>
                      <a:pt x="1028" y="982"/>
                    </a:lnTo>
                    <a:lnTo>
                      <a:pt x="1033" y="954"/>
                    </a:lnTo>
                    <a:lnTo>
                      <a:pt x="1025" y="923"/>
                    </a:lnTo>
                    <a:lnTo>
                      <a:pt x="1014" y="893"/>
                    </a:lnTo>
                    <a:lnTo>
                      <a:pt x="997" y="867"/>
                    </a:lnTo>
                    <a:lnTo>
                      <a:pt x="990" y="843"/>
                    </a:lnTo>
                    <a:lnTo>
                      <a:pt x="999" y="822"/>
                    </a:lnTo>
                    <a:lnTo>
                      <a:pt x="1021" y="824"/>
                    </a:lnTo>
                    <a:lnTo>
                      <a:pt x="1037" y="829"/>
                    </a:lnTo>
                    <a:lnTo>
                      <a:pt x="1051" y="824"/>
                    </a:lnTo>
                    <a:lnTo>
                      <a:pt x="1068" y="805"/>
                    </a:lnTo>
                    <a:lnTo>
                      <a:pt x="1089" y="789"/>
                    </a:lnTo>
                    <a:lnTo>
                      <a:pt x="1108" y="782"/>
                    </a:lnTo>
                    <a:lnTo>
                      <a:pt x="1125" y="763"/>
                    </a:lnTo>
                    <a:lnTo>
                      <a:pt x="1125" y="744"/>
                    </a:lnTo>
                    <a:lnTo>
                      <a:pt x="1115" y="713"/>
                    </a:lnTo>
                    <a:lnTo>
                      <a:pt x="1101" y="697"/>
                    </a:lnTo>
                    <a:lnTo>
                      <a:pt x="1094" y="678"/>
                    </a:lnTo>
                    <a:lnTo>
                      <a:pt x="1099" y="659"/>
                    </a:lnTo>
                    <a:lnTo>
                      <a:pt x="1113" y="656"/>
                    </a:lnTo>
                    <a:lnTo>
                      <a:pt x="1127" y="680"/>
                    </a:lnTo>
                    <a:lnTo>
                      <a:pt x="1141" y="697"/>
                    </a:lnTo>
                    <a:lnTo>
                      <a:pt x="1170" y="701"/>
                    </a:lnTo>
                    <a:lnTo>
                      <a:pt x="1184" y="689"/>
                    </a:lnTo>
                    <a:lnTo>
                      <a:pt x="1179" y="668"/>
                    </a:lnTo>
                    <a:lnTo>
                      <a:pt x="1160" y="652"/>
                    </a:lnTo>
                    <a:lnTo>
                      <a:pt x="1148" y="633"/>
                    </a:lnTo>
                    <a:lnTo>
                      <a:pt x="1148" y="614"/>
                    </a:lnTo>
                    <a:lnTo>
                      <a:pt x="1158" y="597"/>
                    </a:lnTo>
                    <a:lnTo>
                      <a:pt x="1172" y="581"/>
                    </a:lnTo>
                    <a:lnTo>
                      <a:pt x="1177" y="557"/>
                    </a:lnTo>
                    <a:lnTo>
                      <a:pt x="1174" y="529"/>
                    </a:lnTo>
                    <a:lnTo>
                      <a:pt x="1170" y="512"/>
                    </a:lnTo>
                    <a:lnTo>
                      <a:pt x="1155" y="496"/>
                    </a:lnTo>
                    <a:lnTo>
                      <a:pt x="1141" y="470"/>
                    </a:lnTo>
                    <a:lnTo>
                      <a:pt x="1118" y="434"/>
                    </a:lnTo>
                    <a:lnTo>
                      <a:pt x="1089" y="408"/>
                    </a:lnTo>
                    <a:lnTo>
                      <a:pt x="1070" y="390"/>
                    </a:lnTo>
                    <a:lnTo>
                      <a:pt x="1061" y="371"/>
                    </a:lnTo>
                    <a:lnTo>
                      <a:pt x="1059" y="338"/>
                    </a:lnTo>
                    <a:lnTo>
                      <a:pt x="1066" y="295"/>
                    </a:lnTo>
                    <a:lnTo>
                      <a:pt x="1073" y="260"/>
                    </a:lnTo>
                    <a:lnTo>
                      <a:pt x="1082" y="234"/>
                    </a:lnTo>
                    <a:lnTo>
                      <a:pt x="1084" y="196"/>
                    </a:lnTo>
                    <a:lnTo>
                      <a:pt x="1077" y="172"/>
                    </a:lnTo>
                    <a:lnTo>
                      <a:pt x="1061" y="163"/>
                    </a:lnTo>
                    <a:lnTo>
                      <a:pt x="1042" y="167"/>
                    </a:lnTo>
                    <a:lnTo>
                      <a:pt x="1023" y="184"/>
                    </a:lnTo>
                    <a:lnTo>
                      <a:pt x="1011" y="193"/>
                    </a:lnTo>
                    <a:lnTo>
                      <a:pt x="995" y="191"/>
                    </a:lnTo>
                    <a:lnTo>
                      <a:pt x="985" y="177"/>
                    </a:lnTo>
                    <a:lnTo>
                      <a:pt x="985" y="160"/>
                    </a:lnTo>
                    <a:lnTo>
                      <a:pt x="973" y="146"/>
                    </a:lnTo>
                    <a:lnTo>
                      <a:pt x="959" y="130"/>
                    </a:lnTo>
                    <a:lnTo>
                      <a:pt x="955" y="118"/>
                    </a:lnTo>
                    <a:lnTo>
                      <a:pt x="955" y="99"/>
                    </a:lnTo>
                    <a:lnTo>
                      <a:pt x="952" y="80"/>
                    </a:lnTo>
                    <a:lnTo>
                      <a:pt x="940" y="68"/>
                    </a:lnTo>
                    <a:lnTo>
                      <a:pt x="921" y="66"/>
                    </a:lnTo>
                    <a:lnTo>
                      <a:pt x="905" y="56"/>
                    </a:lnTo>
                    <a:lnTo>
                      <a:pt x="891" y="35"/>
                    </a:lnTo>
                    <a:lnTo>
                      <a:pt x="886" y="19"/>
                    </a:lnTo>
                    <a:lnTo>
                      <a:pt x="865" y="4"/>
                    </a:lnTo>
                    <a:lnTo>
                      <a:pt x="825" y="0"/>
                    </a:lnTo>
                    <a:lnTo>
                      <a:pt x="787" y="2"/>
                    </a:lnTo>
                    <a:lnTo>
                      <a:pt x="756" y="2"/>
                    </a:lnTo>
                    <a:lnTo>
                      <a:pt x="740" y="14"/>
                    </a:lnTo>
                    <a:lnTo>
                      <a:pt x="740" y="26"/>
                    </a:lnTo>
                    <a:lnTo>
                      <a:pt x="758" y="42"/>
                    </a:lnTo>
                    <a:lnTo>
                      <a:pt x="782" y="61"/>
                    </a:lnTo>
                    <a:lnTo>
                      <a:pt x="784" y="73"/>
                    </a:lnTo>
                    <a:lnTo>
                      <a:pt x="773" y="82"/>
                    </a:lnTo>
                    <a:lnTo>
                      <a:pt x="756" y="85"/>
                    </a:lnTo>
                    <a:lnTo>
                      <a:pt x="740" y="94"/>
                    </a:lnTo>
                    <a:lnTo>
                      <a:pt x="721" y="108"/>
                    </a:lnTo>
                    <a:lnTo>
                      <a:pt x="702" y="113"/>
                    </a:lnTo>
                    <a:lnTo>
                      <a:pt x="678" y="113"/>
                    </a:lnTo>
                    <a:lnTo>
                      <a:pt x="669" y="101"/>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34" name="Freeform 33"/>
              <p:cNvSpPr>
                <a:spLocks/>
              </p:cNvSpPr>
              <p:nvPr/>
            </p:nvSpPr>
            <p:spPr bwMode="gray">
              <a:xfrm>
                <a:off x="-5445125" y="3143250"/>
                <a:ext cx="2903537" cy="3086100"/>
              </a:xfrm>
              <a:custGeom>
                <a:avLst/>
                <a:gdLst/>
                <a:ahLst/>
                <a:cxnLst>
                  <a:cxn ang="0">
                    <a:pos x="116" y="539"/>
                  </a:cxn>
                  <a:cxn ang="0">
                    <a:pos x="100" y="468"/>
                  </a:cxn>
                  <a:cxn ang="0">
                    <a:pos x="251" y="492"/>
                  </a:cxn>
                  <a:cxn ang="0">
                    <a:pos x="315" y="572"/>
                  </a:cxn>
                  <a:cxn ang="0">
                    <a:pos x="371" y="647"/>
                  </a:cxn>
                  <a:cxn ang="0">
                    <a:pos x="442" y="688"/>
                  </a:cxn>
                  <a:cxn ang="0">
                    <a:pos x="449" y="862"/>
                  </a:cxn>
                  <a:cxn ang="0">
                    <a:pos x="537" y="1011"/>
                  </a:cxn>
                  <a:cxn ang="0">
                    <a:pos x="539" y="1122"/>
                  </a:cxn>
                  <a:cxn ang="0">
                    <a:pos x="459" y="1113"/>
                  </a:cxn>
                  <a:cxn ang="0">
                    <a:pos x="468" y="1236"/>
                  </a:cxn>
                  <a:cxn ang="0">
                    <a:pos x="359" y="1276"/>
                  </a:cxn>
                  <a:cxn ang="0">
                    <a:pos x="388" y="1436"/>
                  </a:cxn>
                  <a:cxn ang="0">
                    <a:pos x="383" y="1604"/>
                  </a:cxn>
                  <a:cxn ang="0">
                    <a:pos x="378" y="1715"/>
                  </a:cxn>
                  <a:cxn ang="0">
                    <a:pos x="277" y="1751"/>
                  </a:cxn>
                  <a:cxn ang="0">
                    <a:pos x="369" y="1829"/>
                  </a:cxn>
                  <a:cxn ang="0">
                    <a:pos x="430" y="1880"/>
                  </a:cxn>
                  <a:cxn ang="0">
                    <a:pos x="449" y="1942"/>
                  </a:cxn>
                  <a:cxn ang="0">
                    <a:pos x="487" y="1833"/>
                  </a:cxn>
                  <a:cxn ang="0">
                    <a:pos x="534" y="1743"/>
                  </a:cxn>
                  <a:cxn ang="0">
                    <a:pos x="617" y="1784"/>
                  </a:cxn>
                  <a:cxn ang="0">
                    <a:pos x="711" y="1829"/>
                  </a:cxn>
                  <a:cxn ang="0">
                    <a:pos x="785" y="1866"/>
                  </a:cxn>
                  <a:cxn ang="0">
                    <a:pos x="903" y="1829"/>
                  </a:cxn>
                  <a:cxn ang="0">
                    <a:pos x="1047" y="1765"/>
                  </a:cxn>
                  <a:cxn ang="0">
                    <a:pos x="1219" y="1743"/>
                  </a:cxn>
                  <a:cxn ang="0">
                    <a:pos x="1295" y="1722"/>
                  </a:cxn>
                  <a:cxn ang="0">
                    <a:pos x="1380" y="1739"/>
                  </a:cxn>
                  <a:cxn ang="0">
                    <a:pos x="1458" y="1722"/>
                  </a:cxn>
                  <a:cxn ang="0">
                    <a:pos x="1479" y="1791"/>
                  </a:cxn>
                  <a:cxn ang="0">
                    <a:pos x="1574" y="1831"/>
                  </a:cxn>
                  <a:cxn ang="0">
                    <a:pos x="1526" y="1706"/>
                  </a:cxn>
                  <a:cxn ang="0">
                    <a:pos x="1557" y="1588"/>
                  </a:cxn>
                  <a:cxn ang="0">
                    <a:pos x="1484" y="1524"/>
                  </a:cxn>
                  <a:cxn ang="0">
                    <a:pos x="1503" y="1417"/>
                  </a:cxn>
                  <a:cxn ang="0">
                    <a:pos x="1576" y="1363"/>
                  </a:cxn>
                  <a:cxn ang="0">
                    <a:pos x="1711" y="1257"/>
                  </a:cxn>
                  <a:cxn ang="0">
                    <a:pos x="1824" y="1169"/>
                  </a:cxn>
                  <a:cxn ang="0">
                    <a:pos x="1682" y="969"/>
                  </a:cxn>
                  <a:cxn ang="0">
                    <a:pos x="1595" y="869"/>
                  </a:cxn>
                  <a:cxn ang="0">
                    <a:pos x="1425" y="728"/>
                  </a:cxn>
                  <a:cxn ang="0">
                    <a:pos x="1297" y="494"/>
                  </a:cxn>
                  <a:cxn ang="0">
                    <a:pos x="1229" y="279"/>
                  </a:cxn>
                  <a:cxn ang="0">
                    <a:pos x="1132" y="118"/>
                  </a:cxn>
                  <a:cxn ang="0">
                    <a:pos x="948" y="104"/>
                  </a:cxn>
                  <a:cxn ang="0">
                    <a:pos x="867" y="78"/>
                  </a:cxn>
                  <a:cxn ang="0">
                    <a:pos x="787" y="128"/>
                  </a:cxn>
                  <a:cxn ang="0">
                    <a:pos x="664" y="135"/>
                  </a:cxn>
                  <a:cxn ang="0">
                    <a:pos x="617" y="166"/>
                  </a:cxn>
                  <a:cxn ang="0">
                    <a:pos x="499" y="31"/>
                  </a:cxn>
                  <a:cxn ang="0">
                    <a:pos x="404" y="17"/>
                  </a:cxn>
                  <a:cxn ang="0">
                    <a:pos x="336" y="102"/>
                  </a:cxn>
                  <a:cxn ang="0">
                    <a:pos x="291" y="128"/>
                  </a:cxn>
                  <a:cxn ang="0">
                    <a:pos x="279" y="208"/>
                  </a:cxn>
                  <a:cxn ang="0">
                    <a:pos x="192" y="206"/>
                  </a:cxn>
                  <a:cxn ang="0">
                    <a:pos x="163" y="295"/>
                  </a:cxn>
                  <a:cxn ang="0">
                    <a:pos x="97" y="270"/>
                  </a:cxn>
                  <a:cxn ang="0">
                    <a:pos x="38" y="281"/>
                  </a:cxn>
                  <a:cxn ang="0">
                    <a:pos x="10" y="388"/>
                  </a:cxn>
                  <a:cxn ang="0">
                    <a:pos x="33" y="527"/>
                  </a:cxn>
                </a:cxnLst>
                <a:rect l="0" t="0" r="r" b="b"/>
                <a:pathLst>
                  <a:path w="1829" h="1944">
                    <a:moveTo>
                      <a:pt x="29" y="555"/>
                    </a:moveTo>
                    <a:lnTo>
                      <a:pt x="38" y="567"/>
                    </a:lnTo>
                    <a:lnTo>
                      <a:pt x="62" y="567"/>
                    </a:lnTo>
                    <a:lnTo>
                      <a:pt x="81" y="562"/>
                    </a:lnTo>
                    <a:lnTo>
                      <a:pt x="100" y="548"/>
                    </a:lnTo>
                    <a:lnTo>
                      <a:pt x="116" y="539"/>
                    </a:lnTo>
                    <a:lnTo>
                      <a:pt x="133" y="536"/>
                    </a:lnTo>
                    <a:lnTo>
                      <a:pt x="144" y="527"/>
                    </a:lnTo>
                    <a:lnTo>
                      <a:pt x="142" y="515"/>
                    </a:lnTo>
                    <a:lnTo>
                      <a:pt x="118" y="496"/>
                    </a:lnTo>
                    <a:lnTo>
                      <a:pt x="100" y="480"/>
                    </a:lnTo>
                    <a:lnTo>
                      <a:pt x="100" y="468"/>
                    </a:lnTo>
                    <a:lnTo>
                      <a:pt x="116" y="456"/>
                    </a:lnTo>
                    <a:lnTo>
                      <a:pt x="147" y="456"/>
                    </a:lnTo>
                    <a:lnTo>
                      <a:pt x="185" y="454"/>
                    </a:lnTo>
                    <a:lnTo>
                      <a:pt x="225" y="458"/>
                    </a:lnTo>
                    <a:lnTo>
                      <a:pt x="246" y="473"/>
                    </a:lnTo>
                    <a:lnTo>
                      <a:pt x="251" y="492"/>
                    </a:lnTo>
                    <a:lnTo>
                      <a:pt x="265" y="510"/>
                    </a:lnTo>
                    <a:lnTo>
                      <a:pt x="281" y="520"/>
                    </a:lnTo>
                    <a:lnTo>
                      <a:pt x="300" y="522"/>
                    </a:lnTo>
                    <a:lnTo>
                      <a:pt x="312" y="534"/>
                    </a:lnTo>
                    <a:lnTo>
                      <a:pt x="315" y="553"/>
                    </a:lnTo>
                    <a:lnTo>
                      <a:pt x="315" y="572"/>
                    </a:lnTo>
                    <a:lnTo>
                      <a:pt x="319" y="584"/>
                    </a:lnTo>
                    <a:lnTo>
                      <a:pt x="333" y="600"/>
                    </a:lnTo>
                    <a:lnTo>
                      <a:pt x="345" y="614"/>
                    </a:lnTo>
                    <a:lnTo>
                      <a:pt x="345" y="631"/>
                    </a:lnTo>
                    <a:lnTo>
                      <a:pt x="355" y="645"/>
                    </a:lnTo>
                    <a:lnTo>
                      <a:pt x="371" y="647"/>
                    </a:lnTo>
                    <a:lnTo>
                      <a:pt x="383" y="638"/>
                    </a:lnTo>
                    <a:lnTo>
                      <a:pt x="402" y="621"/>
                    </a:lnTo>
                    <a:lnTo>
                      <a:pt x="421" y="617"/>
                    </a:lnTo>
                    <a:lnTo>
                      <a:pt x="437" y="626"/>
                    </a:lnTo>
                    <a:lnTo>
                      <a:pt x="444" y="650"/>
                    </a:lnTo>
                    <a:lnTo>
                      <a:pt x="442" y="688"/>
                    </a:lnTo>
                    <a:lnTo>
                      <a:pt x="433" y="714"/>
                    </a:lnTo>
                    <a:lnTo>
                      <a:pt x="426" y="749"/>
                    </a:lnTo>
                    <a:lnTo>
                      <a:pt x="419" y="792"/>
                    </a:lnTo>
                    <a:lnTo>
                      <a:pt x="421" y="825"/>
                    </a:lnTo>
                    <a:lnTo>
                      <a:pt x="430" y="844"/>
                    </a:lnTo>
                    <a:lnTo>
                      <a:pt x="449" y="862"/>
                    </a:lnTo>
                    <a:lnTo>
                      <a:pt x="478" y="888"/>
                    </a:lnTo>
                    <a:lnTo>
                      <a:pt x="501" y="924"/>
                    </a:lnTo>
                    <a:lnTo>
                      <a:pt x="515" y="950"/>
                    </a:lnTo>
                    <a:lnTo>
                      <a:pt x="530" y="966"/>
                    </a:lnTo>
                    <a:lnTo>
                      <a:pt x="534" y="983"/>
                    </a:lnTo>
                    <a:lnTo>
                      <a:pt x="537" y="1011"/>
                    </a:lnTo>
                    <a:lnTo>
                      <a:pt x="532" y="1035"/>
                    </a:lnTo>
                    <a:lnTo>
                      <a:pt x="518" y="1051"/>
                    </a:lnTo>
                    <a:lnTo>
                      <a:pt x="508" y="1068"/>
                    </a:lnTo>
                    <a:lnTo>
                      <a:pt x="508" y="1087"/>
                    </a:lnTo>
                    <a:lnTo>
                      <a:pt x="520" y="1106"/>
                    </a:lnTo>
                    <a:lnTo>
                      <a:pt x="539" y="1122"/>
                    </a:lnTo>
                    <a:lnTo>
                      <a:pt x="544" y="1143"/>
                    </a:lnTo>
                    <a:lnTo>
                      <a:pt x="530" y="1155"/>
                    </a:lnTo>
                    <a:lnTo>
                      <a:pt x="501" y="1151"/>
                    </a:lnTo>
                    <a:lnTo>
                      <a:pt x="487" y="1134"/>
                    </a:lnTo>
                    <a:lnTo>
                      <a:pt x="473" y="1110"/>
                    </a:lnTo>
                    <a:lnTo>
                      <a:pt x="459" y="1113"/>
                    </a:lnTo>
                    <a:lnTo>
                      <a:pt x="454" y="1132"/>
                    </a:lnTo>
                    <a:lnTo>
                      <a:pt x="461" y="1151"/>
                    </a:lnTo>
                    <a:lnTo>
                      <a:pt x="475" y="1167"/>
                    </a:lnTo>
                    <a:lnTo>
                      <a:pt x="485" y="1198"/>
                    </a:lnTo>
                    <a:lnTo>
                      <a:pt x="485" y="1217"/>
                    </a:lnTo>
                    <a:lnTo>
                      <a:pt x="468" y="1236"/>
                    </a:lnTo>
                    <a:lnTo>
                      <a:pt x="449" y="1243"/>
                    </a:lnTo>
                    <a:lnTo>
                      <a:pt x="428" y="1259"/>
                    </a:lnTo>
                    <a:lnTo>
                      <a:pt x="411" y="1278"/>
                    </a:lnTo>
                    <a:lnTo>
                      <a:pt x="397" y="1283"/>
                    </a:lnTo>
                    <a:lnTo>
                      <a:pt x="381" y="1278"/>
                    </a:lnTo>
                    <a:lnTo>
                      <a:pt x="359" y="1276"/>
                    </a:lnTo>
                    <a:lnTo>
                      <a:pt x="350" y="1297"/>
                    </a:lnTo>
                    <a:lnTo>
                      <a:pt x="357" y="1321"/>
                    </a:lnTo>
                    <a:lnTo>
                      <a:pt x="374" y="1347"/>
                    </a:lnTo>
                    <a:lnTo>
                      <a:pt x="385" y="1377"/>
                    </a:lnTo>
                    <a:lnTo>
                      <a:pt x="393" y="1408"/>
                    </a:lnTo>
                    <a:lnTo>
                      <a:pt x="388" y="1436"/>
                    </a:lnTo>
                    <a:lnTo>
                      <a:pt x="378" y="1458"/>
                    </a:lnTo>
                    <a:lnTo>
                      <a:pt x="376" y="1484"/>
                    </a:lnTo>
                    <a:lnTo>
                      <a:pt x="383" y="1514"/>
                    </a:lnTo>
                    <a:lnTo>
                      <a:pt x="388" y="1543"/>
                    </a:lnTo>
                    <a:lnTo>
                      <a:pt x="390" y="1580"/>
                    </a:lnTo>
                    <a:lnTo>
                      <a:pt x="383" y="1604"/>
                    </a:lnTo>
                    <a:lnTo>
                      <a:pt x="381" y="1637"/>
                    </a:lnTo>
                    <a:lnTo>
                      <a:pt x="369" y="1649"/>
                    </a:lnTo>
                    <a:lnTo>
                      <a:pt x="369" y="1668"/>
                    </a:lnTo>
                    <a:lnTo>
                      <a:pt x="383" y="1680"/>
                    </a:lnTo>
                    <a:lnTo>
                      <a:pt x="388" y="1696"/>
                    </a:lnTo>
                    <a:lnTo>
                      <a:pt x="378" y="1715"/>
                    </a:lnTo>
                    <a:lnTo>
                      <a:pt x="352" y="1725"/>
                    </a:lnTo>
                    <a:lnTo>
                      <a:pt x="331" y="1713"/>
                    </a:lnTo>
                    <a:lnTo>
                      <a:pt x="312" y="1701"/>
                    </a:lnTo>
                    <a:lnTo>
                      <a:pt x="296" y="1713"/>
                    </a:lnTo>
                    <a:lnTo>
                      <a:pt x="284" y="1736"/>
                    </a:lnTo>
                    <a:lnTo>
                      <a:pt x="277" y="1751"/>
                    </a:lnTo>
                    <a:lnTo>
                      <a:pt x="284" y="1774"/>
                    </a:lnTo>
                    <a:lnTo>
                      <a:pt x="293" y="1786"/>
                    </a:lnTo>
                    <a:lnTo>
                      <a:pt x="322" y="1788"/>
                    </a:lnTo>
                    <a:lnTo>
                      <a:pt x="336" y="1798"/>
                    </a:lnTo>
                    <a:lnTo>
                      <a:pt x="355" y="1814"/>
                    </a:lnTo>
                    <a:lnTo>
                      <a:pt x="369" y="1829"/>
                    </a:lnTo>
                    <a:lnTo>
                      <a:pt x="378" y="1833"/>
                    </a:lnTo>
                    <a:lnTo>
                      <a:pt x="383" y="1850"/>
                    </a:lnTo>
                    <a:lnTo>
                      <a:pt x="385" y="1864"/>
                    </a:lnTo>
                    <a:lnTo>
                      <a:pt x="397" y="1871"/>
                    </a:lnTo>
                    <a:lnTo>
                      <a:pt x="416" y="1873"/>
                    </a:lnTo>
                    <a:lnTo>
                      <a:pt x="430" y="1880"/>
                    </a:lnTo>
                    <a:lnTo>
                      <a:pt x="430" y="1890"/>
                    </a:lnTo>
                    <a:lnTo>
                      <a:pt x="430" y="1902"/>
                    </a:lnTo>
                    <a:lnTo>
                      <a:pt x="423" y="1914"/>
                    </a:lnTo>
                    <a:lnTo>
                      <a:pt x="423" y="1940"/>
                    </a:lnTo>
                    <a:lnTo>
                      <a:pt x="433" y="1944"/>
                    </a:lnTo>
                    <a:lnTo>
                      <a:pt x="449" y="1942"/>
                    </a:lnTo>
                    <a:lnTo>
                      <a:pt x="459" y="1925"/>
                    </a:lnTo>
                    <a:lnTo>
                      <a:pt x="482" y="1902"/>
                    </a:lnTo>
                    <a:lnTo>
                      <a:pt x="496" y="1888"/>
                    </a:lnTo>
                    <a:lnTo>
                      <a:pt x="511" y="1873"/>
                    </a:lnTo>
                    <a:lnTo>
                      <a:pt x="501" y="1857"/>
                    </a:lnTo>
                    <a:lnTo>
                      <a:pt x="487" y="1833"/>
                    </a:lnTo>
                    <a:lnTo>
                      <a:pt x="485" y="1807"/>
                    </a:lnTo>
                    <a:lnTo>
                      <a:pt x="494" y="1788"/>
                    </a:lnTo>
                    <a:lnTo>
                      <a:pt x="504" y="1769"/>
                    </a:lnTo>
                    <a:lnTo>
                      <a:pt x="513" y="1753"/>
                    </a:lnTo>
                    <a:lnTo>
                      <a:pt x="522" y="1741"/>
                    </a:lnTo>
                    <a:lnTo>
                      <a:pt x="534" y="1743"/>
                    </a:lnTo>
                    <a:lnTo>
                      <a:pt x="544" y="1767"/>
                    </a:lnTo>
                    <a:lnTo>
                      <a:pt x="551" y="1786"/>
                    </a:lnTo>
                    <a:lnTo>
                      <a:pt x="565" y="1798"/>
                    </a:lnTo>
                    <a:lnTo>
                      <a:pt x="581" y="1795"/>
                    </a:lnTo>
                    <a:lnTo>
                      <a:pt x="593" y="1786"/>
                    </a:lnTo>
                    <a:lnTo>
                      <a:pt x="617" y="1784"/>
                    </a:lnTo>
                    <a:lnTo>
                      <a:pt x="641" y="1784"/>
                    </a:lnTo>
                    <a:lnTo>
                      <a:pt x="659" y="1793"/>
                    </a:lnTo>
                    <a:lnTo>
                      <a:pt x="674" y="1807"/>
                    </a:lnTo>
                    <a:lnTo>
                      <a:pt x="690" y="1814"/>
                    </a:lnTo>
                    <a:lnTo>
                      <a:pt x="707" y="1817"/>
                    </a:lnTo>
                    <a:lnTo>
                      <a:pt x="711" y="1829"/>
                    </a:lnTo>
                    <a:lnTo>
                      <a:pt x="714" y="1847"/>
                    </a:lnTo>
                    <a:lnTo>
                      <a:pt x="716" y="1869"/>
                    </a:lnTo>
                    <a:lnTo>
                      <a:pt x="730" y="1878"/>
                    </a:lnTo>
                    <a:lnTo>
                      <a:pt x="749" y="1890"/>
                    </a:lnTo>
                    <a:lnTo>
                      <a:pt x="773" y="1880"/>
                    </a:lnTo>
                    <a:lnTo>
                      <a:pt x="785" y="1866"/>
                    </a:lnTo>
                    <a:lnTo>
                      <a:pt x="804" y="1869"/>
                    </a:lnTo>
                    <a:lnTo>
                      <a:pt x="813" y="1876"/>
                    </a:lnTo>
                    <a:lnTo>
                      <a:pt x="830" y="1876"/>
                    </a:lnTo>
                    <a:lnTo>
                      <a:pt x="853" y="1862"/>
                    </a:lnTo>
                    <a:lnTo>
                      <a:pt x="874" y="1845"/>
                    </a:lnTo>
                    <a:lnTo>
                      <a:pt x="903" y="1829"/>
                    </a:lnTo>
                    <a:lnTo>
                      <a:pt x="931" y="1821"/>
                    </a:lnTo>
                    <a:lnTo>
                      <a:pt x="955" y="1824"/>
                    </a:lnTo>
                    <a:lnTo>
                      <a:pt x="985" y="1821"/>
                    </a:lnTo>
                    <a:lnTo>
                      <a:pt x="1007" y="1807"/>
                    </a:lnTo>
                    <a:lnTo>
                      <a:pt x="1028" y="1784"/>
                    </a:lnTo>
                    <a:lnTo>
                      <a:pt x="1047" y="1765"/>
                    </a:lnTo>
                    <a:lnTo>
                      <a:pt x="1073" y="1760"/>
                    </a:lnTo>
                    <a:lnTo>
                      <a:pt x="1111" y="1751"/>
                    </a:lnTo>
                    <a:lnTo>
                      <a:pt x="1148" y="1755"/>
                    </a:lnTo>
                    <a:lnTo>
                      <a:pt x="1179" y="1760"/>
                    </a:lnTo>
                    <a:lnTo>
                      <a:pt x="1208" y="1755"/>
                    </a:lnTo>
                    <a:lnTo>
                      <a:pt x="1219" y="1743"/>
                    </a:lnTo>
                    <a:lnTo>
                      <a:pt x="1229" y="1727"/>
                    </a:lnTo>
                    <a:lnTo>
                      <a:pt x="1241" y="1703"/>
                    </a:lnTo>
                    <a:lnTo>
                      <a:pt x="1255" y="1694"/>
                    </a:lnTo>
                    <a:lnTo>
                      <a:pt x="1271" y="1692"/>
                    </a:lnTo>
                    <a:lnTo>
                      <a:pt x="1283" y="1706"/>
                    </a:lnTo>
                    <a:lnTo>
                      <a:pt x="1295" y="1722"/>
                    </a:lnTo>
                    <a:lnTo>
                      <a:pt x="1311" y="1727"/>
                    </a:lnTo>
                    <a:lnTo>
                      <a:pt x="1330" y="1734"/>
                    </a:lnTo>
                    <a:lnTo>
                      <a:pt x="1342" y="1748"/>
                    </a:lnTo>
                    <a:lnTo>
                      <a:pt x="1361" y="1758"/>
                    </a:lnTo>
                    <a:lnTo>
                      <a:pt x="1373" y="1753"/>
                    </a:lnTo>
                    <a:lnTo>
                      <a:pt x="1380" y="1739"/>
                    </a:lnTo>
                    <a:lnTo>
                      <a:pt x="1396" y="1727"/>
                    </a:lnTo>
                    <a:lnTo>
                      <a:pt x="1413" y="1727"/>
                    </a:lnTo>
                    <a:lnTo>
                      <a:pt x="1427" y="1734"/>
                    </a:lnTo>
                    <a:lnTo>
                      <a:pt x="1439" y="1736"/>
                    </a:lnTo>
                    <a:lnTo>
                      <a:pt x="1448" y="1729"/>
                    </a:lnTo>
                    <a:lnTo>
                      <a:pt x="1458" y="1722"/>
                    </a:lnTo>
                    <a:lnTo>
                      <a:pt x="1470" y="1727"/>
                    </a:lnTo>
                    <a:lnTo>
                      <a:pt x="1477" y="1743"/>
                    </a:lnTo>
                    <a:lnTo>
                      <a:pt x="1472" y="1760"/>
                    </a:lnTo>
                    <a:lnTo>
                      <a:pt x="1465" y="1769"/>
                    </a:lnTo>
                    <a:lnTo>
                      <a:pt x="1465" y="1781"/>
                    </a:lnTo>
                    <a:lnTo>
                      <a:pt x="1479" y="1791"/>
                    </a:lnTo>
                    <a:lnTo>
                      <a:pt x="1496" y="1795"/>
                    </a:lnTo>
                    <a:lnTo>
                      <a:pt x="1505" y="1814"/>
                    </a:lnTo>
                    <a:lnTo>
                      <a:pt x="1519" y="1833"/>
                    </a:lnTo>
                    <a:lnTo>
                      <a:pt x="1534" y="1843"/>
                    </a:lnTo>
                    <a:lnTo>
                      <a:pt x="1555" y="1845"/>
                    </a:lnTo>
                    <a:lnTo>
                      <a:pt x="1574" y="1831"/>
                    </a:lnTo>
                    <a:lnTo>
                      <a:pt x="1578" y="1793"/>
                    </a:lnTo>
                    <a:lnTo>
                      <a:pt x="1578" y="1767"/>
                    </a:lnTo>
                    <a:lnTo>
                      <a:pt x="1581" y="1743"/>
                    </a:lnTo>
                    <a:lnTo>
                      <a:pt x="1569" y="1729"/>
                    </a:lnTo>
                    <a:lnTo>
                      <a:pt x="1548" y="1717"/>
                    </a:lnTo>
                    <a:lnTo>
                      <a:pt x="1526" y="1706"/>
                    </a:lnTo>
                    <a:lnTo>
                      <a:pt x="1524" y="1692"/>
                    </a:lnTo>
                    <a:lnTo>
                      <a:pt x="1531" y="1675"/>
                    </a:lnTo>
                    <a:lnTo>
                      <a:pt x="1543" y="1656"/>
                    </a:lnTo>
                    <a:lnTo>
                      <a:pt x="1557" y="1635"/>
                    </a:lnTo>
                    <a:lnTo>
                      <a:pt x="1559" y="1614"/>
                    </a:lnTo>
                    <a:lnTo>
                      <a:pt x="1557" y="1588"/>
                    </a:lnTo>
                    <a:lnTo>
                      <a:pt x="1550" y="1573"/>
                    </a:lnTo>
                    <a:lnTo>
                      <a:pt x="1534" y="1564"/>
                    </a:lnTo>
                    <a:lnTo>
                      <a:pt x="1508" y="1557"/>
                    </a:lnTo>
                    <a:lnTo>
                      <a:pt x="1493" y="1557"/>
                    </a:lnTo>
                    <a:lnTo>
                      <a:pt x="1486" y="1543"/>
                    </a:lnTo>
                    <a:lnTo>
                      <a:pt x="1484" y="1524"/>
                    </a:lnTo>
                    <a:lnTo>
                      <a:pt x="1467" y="1507"/>
                    </a:lnTo>
                    <a:lnTo>
                      <a:pt x="1460" y="1500"/>
                    </a:lnTo>
                    <a:lnTo>
                      <a:pt x="1458" y="1486"/>
                    </a:lnTo>
                    <a:lnTo>
                      <a:pt x="1463" y="1462"/>
                    </a:lnTo>
                    <a:lnTo>
                      <a:pt x="1484" y="1436"/>
                    </a:lnTo>
                    <a:lnTo>
                      <a:pt x="1503" y="1417"/>
                    </a:lnTo>
                    <a:lnTo>
                      <a:pt x="1517" y="1413"/>
                    </a:lnTo>
                    <a:lnTo>
                      <a:pt x="1538" y="1415"/>
                    </a:lnTo>
                    <a:lnTo>
                      <a:pt x="1548" y="1413"/>
                    </a:lnTo>
                    <a:lnTo>
                      <a:pt x="1552" y="1394"/>
                    </a:lnTo>
                    <a:lnTo>
                      <a:pt x="1562" y="1377"/>
                    </a:lnTo>
                    <a:lnTo>
                      <a:pt x="1576" y="1363"/>
                    </a:lnTo>
                    <a:lnTo>
                      <a:pt x="1600" y="1356"/>
                    </a:lnTo>
                    <a:lnTo>
                      <a:pt x="1621" y="1356"/>
                    </a:lnTo>
                    <a:lnTo>
                      <a:pt x="1656" y="1340"/>
                    </a:lnTo>
                    <a:lnTo>
                      <a:pt x="1678" y="1318"/>
                    </a:lnTo>
                    <a:lnTo>
                      <a:pt x="1701" y="1288"/>
                    </a:lnTo>
                    <a:lnTo>
                      <a:pt x="1711" y="1257"/>
                    </a:lnTo>
                    <a:lnTo>
                      <a:pt x="1715" y="1221"/>
                    </a:lnTo>
                    <a:lnTo>
                      <a:pt x="1722" y="1198"/>
                    </a:lnTo>
                    <a:lnTo>
                      <a:pt x="1746" y="1184"/>
                    </a:lnTo>
                    <a:lnTo>
                      <a:pt x="1774" y="1184"/>
                    </a:lnTo>
                    <a:lnTo>
                      <a:pt x="1808" y="1181"/>
                    </a:lnTo>
                    <a:lnTo>
                      <a:pt x="1824" y="1169"/>
                    </a:lnTo>
                    <a:lnTo>
                      <a:pt x="1829" y="1134"/>
                    </a:lnTo>
                    <a:lnTo>
                      <a:pt x="1812" y="1066"/>
                    </a:lnTo>
                    <a:lnTo>
                      <a:pt x="1810" y="1028"/>
                    </a:lnTo>
                    <a:lnTo>
                      <a:pt x="1760" y="1006"/>
                    </a:lnTo>
                    <a:lnTo>
                      <a:pt x="1722" y="988"/>
                    </a:lnTo>
                    <a:lnTo>
                      <a:pt x="1682" y="969"/>
                    </a:lnTo>
                    <a:lnTo>
                      <a:pt x="1673" y="938"/>
                    </a:lnTo>
                    <a:lnTo>
                      <a:pt x="1668" y="914"/>
                    </a:lnTo>
                    <a:lnTo>
                      <a:pt x="1661" y="893"/>
                    </a:lnTo>
                    <a:lnTo>
                      <a:pt x="1640" y="879"/>
                    </a:lnTo>
                    <a:lnTo>
                      <a:pt x="1614" y="877"/>
                    </a:lnTo>
                    <a:lnTo>
                      <a:pt x="1595" y="869"/>
                    </a:lnTo>
                    <a:lnTo>
                      <a:pt x="1578" y="855"/>
                    </a:lnTo>
                    <a:lnTo>
                      <a:pt x="1555" y="808"/>
                    </a:lnTo>
                    <a:lnTo>
                      <a:pt x="1503" y="742"/>
                    </a:lnTo>
                    <a:lnTo>
                      <a:pt x="1493" y="737"/>
                    </a:lnTo>
                    <a:lnTo>
                      <a:pt x="1448" y="735"/>
                    </a:lnTo>
                    <a:lnTo>
                      <a:pt x="1425" y="728"/>
                    </a:lnTo>
                    <a:lnTo>
                      <a:pt x="1399" y="692"/>
                    </a:lnTo>
                    <a:lnTo>
                      <a:pt x="1373" y="647"/>
                    </a:lnTo>
                    <a:lnTo>
                      <a:pt x="1356" y="610"/>
                    </a:lnTo>
                    <a:lnTo>
                      <a:pt x="1349" y="581"/>
                    </a:lnTo>
                    <a:lnTo>
                      <a:pt x="1316" y="529"/>
                    </a:lnTo>
                    <a:lnTo>
                      <a:pt x="1297" y="494"/>
                    </a:lnTo>
                    <a:lnTo>
                      <a:pt x="1295" y="480"/>
                    </a:lnTo>
                    <a:lnTo>
                      <a:pt x="1316" y="418"/>
                    </a:lnTo>
                    <a:lnTo>
                      <a:pt x="1319" y="392"/>
                    </a:lnTo>
                    <a:lnTo>
                      <a:pt x="1307" y="366"/>
                    </a:lnTo>
                    <a:lnTo>
                      <a:pt x="1271" y="321"/>
                    </a:lnTo>
                    <a:lnTo>
                      <a:pt x="1229" y="279"/>
                    </a:lnTo>
                    <a:lnTo>
                      <a:pt x="1198" y="244"/>
                    </a:lnTo>
                    <a:lnTo>
                      <a:pt x="1196" y="225"/>
                    </a:lnTo>
                    <a:lnTo>
                      <a:pt x="1198" y="196"/>
                    </a:lnTo>
                    <a:lnTo>
                      <a:pt x="1203" y="189"/>
                    </a:lnTo>
                    <a:lnTo>
                      <a:pt x="1163" y="156"/>
                    </a:lnTo>
                    <a:lnTo>
                      <a:pt x="1132" y="118"/>
                    </a:lnTo>
                    <a:lnTo>
                      <a:pt x="1092" y="114"/>
                    </a:lnTo>
                    <a:lnTo>
                      <a:pt x="1066" y="102"/>
                    </a:lnTo>
                    <a:lnTo>
                      <a:pt x="1030" y="95"/>
                    </a:lnTo>
                    <a:lnTo>
                      <a:pt x="997" y="97"/>
                    </a:lnTo>
                    <a:lnTo>
                      <a:pt x="978" y="104"/>
                    </a:lnTo>
                    <a:lnTo>
                      <a:pt x="948" y="104"/>
                    </a:lnTo>
                    <a:lnTo>
                      <a:pt x="933" y="95"/>
                    </a:lnTo>
                    <a:lnTo>
                      <a:pt x="931" y="64"/>
                    </a:lnTo>
                    <a:lnTo>
                      <a:pt x="915" y="43"/>
                    </a:lnTo>
                    <a:lnTo>
                      <a:pt x="896" y="43"/>
                    </a:lnTo>
                    <a:lnTo>
                      <a:pt x="877" y="52"/>
                    </a:lnTo>
                    <a:lnTo>
                      <a:pt x="867" y="78"/>
                    </a:lnTo>
                    <a:lnTo>
                      <a:pt x="872" y="107"/>
                    </a:lnTo>
                    <a:lnTo>
                      <a:pt x="872" y="147"/>
                    </a:lnTo>
                    <a:lnTo>
                      <a:pt x="863" y="161"/>
                    </a:lnTo>
                    <a:lnTo>
                      <a:pt x="841" y="163"/>
                    </a:lnTo>
                    <a:lnTo>
                      <a:pt x="806" y="133"/>
                    </a:lnTo>
                    <a:lnTo>
                      <a:pt x="787" y="128"/>
                    </a:lnTo>
                    <a:lnTo>
                      <a:pt x="740" y="130"/>
                    </a:lnTo>
                    <a:lnTo>
                      <a:pt x="719" y="130"/>
                    </a:lnTo>
                    <a:lnTo>
                      <a:pt x="707" y="116"/>
                    </a:lnTo>
                    <a:lnTo>
                      <a:pt x="688" y="104"/>
                    </a:lnTo>
                    <a:lnTo>
                      <a:pt x="671" y="111"/>
                    </a:lnTo>
                    <a:lnTo>
                      <a:pt x="664" y="135"/>
                    </a:lnTo>
                    <a:lnTo>
                      <a:pt x="671" y="151"/>
                    </a:lnTo>
                    <a:lnTo>
                      <a:pt x="674" y="170"/>
                    </a:lnTo>
                    <a:lnTo>
                      <a:pt x="667" y="184"/>
                    </a:lnTo>
                    <a:lnTo>
                      <a:pt x="645" y="184"/>
                    </a:lnTo>
                    <a:lnTo>
                      <a:pt x="622" y="180"/>
                    </a:lnTo>
                    <a:lnTo>
                      <a:pt x="617" y="166"/>
                    </a:lnTo>
                    <a:lnTo>
                      <a:pt x="615" y="144"/>
                    </a:lnTo>
                    <a:lnTo>
                      <a:pt x="600" y="130"/>
                    </a:lnTo>
                    <a:lnTo>
                      <a:pt x="572" y="121"/>
                    </a:lnTo>
                    <a:lnTo>
                      <a:pt x="537" y="102"/>
                    </a:lnTo>
                    <a:lnTo>
                      <a:pt x="513" y="64"/>
                    </a:lnTo>
                    <a:lnTo>
                      <a:pt x="499" y="31"/>
                    </a:lnTo>
                    <a:lnTo>
                      <a:pt x="485" y="5"/>
                    </a:lnTo>
                    <a:lnTo>
                      <a:pt x="473" y="0"/>
                    </a:lnTo>
                    <a:lnTo>
                      <a:pt x="459" y="5"/>
                    </a:lnTo>
                    <a:lnTo>
                      <a:pt x="437" y="7"/>
                    </a:lnTo>
                    <a:lnTo>
                      <a:pt x="414" y="3"/>
                    </a:lnTo>
                    <a:lnTo>
                      <a:pt x="404" y="17"/>
                    </a:lnTo>
                    <a:lnTo>
                      <a:pt x="402" y="36"/>
                    </a:lnTo>
                    <a:lnTo>
                      <a:pt x="383" y="59"/>
                    </a:lnTo>
                    <a:lnTo>
                      <a:pt x="367" y="73"/>
                    </a:lnTo>
                    <a:lnTo>
                      <a:pt x="352" y="90"/>
                    </a:lnTo>
                    <a:lnTo>
                      <a:pt x="343" y="102"/>
                    </a:lnTo>
                    <a:lnTo>
                      <a:pt x="336" y="102"/>
                    </a:lnTo>
                    <a:lnTo>
                      <a:pt x="331" y="95"/>
                    </a:lnTo>
                    <a:lnTo>
                      <a:pt x="324" y="88"/>
                    </a:lnTo>
                    <a:lnTo>
                      <a:pt x="312" y="85"/>
                    </a:lnTo>
                    <a:lnTo>
                      <a:pt x="300" y="95"/>
                    </a:lnTo>
                    <a:lnTo>
                      <a:pt x="293" y="111"/>
                    </a:lnTo>
                    <a:lnTo>
                      <a:pt x="291" y="128"/>
                    </a:lnTo>
                    <a:lnTo>
                      <a:pt x="293" y="137"/>
                    </a:lnTo>
                    <a:lnTo>
                      <a:pt x="298" y="147"/>
                    </a:lnTo>
                    <a:lnTo>
                      <a:pt x="303" y="163"/>
                    </a:lnTo>
                    <a:lnTo>
                      <a:pt x="300" y="177"/>
                    </a:lnTo>
                    <a:lnTo>
                      <a:pt x="293" y="192"/>
                    </a:lnTo>
                    <a:lnTo>
                      <a:pt x="279" y="208"/>
                    </a:lnTo>
                    <a:lnTo>
                      <a:pt x="263" y="218"/>
                    </a:lnTo>
                    <a:lnTo>
                      <a:pt x="237" y="218"/>
                    </a:lnTo>
                    <a:lnTo>
                      <a:pt x="222" y="208"/>
                    </a:lnTo>
                    <a:lnTo>
                      <a:pt x="211" y="201"/>
                    </a:lnTo>
                    <a:lnTo>
                      <a:pt x="196" y="201"/>
                    </a:lnTo>
                    <a:lnTo>
                      <a:pt x="192" y="206"/>
                    </a:lnTo>
                    <a:lnTo>
                      <a:pt x="194" y="222"/>
                    </a:lnTo>
                    <a:lnTo>
                      <a:pt x="199" y="246"/>
                    </a:lnTo>
                    <a:lnTo>
                      <a:pt x="199" y="265"/>
                    </a:lnTo>
                    <a:lnTo>
                      <a:pt x="189" y="284"/>
                    </a:lnTo>
                    <a:lnTo>
                      <a:pt x="180" y="293"/>
                    </a:lnTo>
                    <a:lnTo>
                      <a:pt x="163" y="295"/>
                    </a:lnTo>
                    <a:lnTo>
                      <a:pt x="154" y="291"/>
                    </a:lnTo>
                    <a:lnTo>
                      <a:pt x="149" y="277"/>
                    </a:lnTo>
                    <a:lnTo>
                      <a:pt x="142" y="265"/>
                    </a:lnTo>
                    <a:lnTo>
                      <a:pt x="130" y="260"/>
                    </a:lnTo>
                    <a:lnTo>
                      <a:pt x="107" y="262"/>
                    </a:lnTo>
                    <a:lnTo>
                      <a:pt x="97" y="270"/>
                    </a:lnTo>
                    <a:lnTo>
                      <a:pt x="88" y="274"/>
                    </a:lnTo>
                    <a:lnTo>
                      <a:pt x="78" y="270"/>
                    </a:lnTo>
                    <a:lnTo>
                      <a:pt x="71" y="260"/>
                    </a:lnTo>
                    <a:lnTo>
                      <a:pt x="57" y="258"/>
                    </a:lnTo>
                    <a:lnTo>
                      <a:pt x="45" y="267"/>
                    </a:lnTo>
                    <a:lnTo>
                      <a:pt x="38" y="281"/>
                    </a:lnTo>
                    <a:lnTo>
                      <a:pt x="24" y="298"/>
                    </a:lnTo>
                    <a:lnTo>
                      <a:pt x="7" y="317"/>
                    </a:lnTo>
                    <a:lnTo>
                      <a:pt x="0" y="336"/>
                    </a:lnTo>
                    <a:lnTo>
                      <a:pt x="12" y="352"/>
                    </a:lnTo>
                    <a:lnTo>
                      <a:pt x="15" y="373"/>
                    </a:lnTo>
                    <a:lnTo>
                      <a:pt x="10" y="388"/>
                    </a:lnTo>
                    <a:lnTo>
                      <a:pt x="5" y="404"/>
                    </a:lnTo>
                    <a:lnTo>
                      <a:pt x="7" y="423"/>
                    </a:lnTo>
                    <a:lnTo>
                      <a:pt x="17" y="440"/>
                    </a:lnTo>
                    <a:lnTo>
                      <a:pt x="26" y="477"/>
                    </a:lnTo>
                    <a:lnTo>
                      <a:pt x="31" y="496"/>
                    </a:lnTo>
                    <a:lnTo>
                      <a:pt x="33" y="527"/>
                    </a:lnTo>
                    <a:lnTo>
                      <a:pt x="29" y="555"/>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35" name="Freeform 34"/>
              <p:cNvSpPr>
                <a:spLocks noEditPoints="1"/>
              </p:cNvSpPr>
              <p:nvPr/>
            </p:nvSpPr>
            <p:spPr bwMode="gray">
              <a:xfrm>
                <a:off x="-3843338" y="431800"/>
                <a:ext cx="1838325" cy="1995488"/>
              </a:xfrm>
              <a:custGeom>
                <a:avLst/>
                <a:gdLst/>
                <a:ahLst/>
                <a:cxnLst>
                  <a:cxn ang="0">
                    <a:pos x="640" y="466"/>
                  </a:cxn>
                  <a:cxn ang="0">
                    <a:pos x="692" y="487"/>
                  </a:cxn>
                  <a:cxn ang="0">
                    <a:pos x="773" y="541"/>
                  </a:cxn>
                  <a:cxn ang="0">
                    <a:pos x="718" y="662"/>
                  </a:cxn>
                  <a:cxn ang="0">
                    <a:pos x="581" y="607"/>
                  </a:cxn>
                  <a:cxn ang="0">
                    <a:pos x="584" y="539"/>
                  </a:cxn>
                  <a:cxn ang="0">
                    <a:pos x="550" y="518"/>
                  </a:cxn>
                  <a:cxn ang="0">
                    <a:pos x="938" y="109"/>
                  </a:cxn>
                  <a:cxn ang="0">
                    <a:pos x="848" y="10"/>
                  </a:cxn>
                  <a:cxn ang="0">
                    <a:pos x="735" y="24"/>
                  </a:cxn>
                  <a:cxn ang="0">
                    <a:pos x="664" y="100"/>
                  </a:cxn>
                  <a:cxn ang="0">
                    <a:pos x="553" y="140"/>
                  </a:cxn>
                  <a:cxn ang="0">
                    <a:pos x="470" y="166"/>
                  </a:cxn>
                  <a:cxn ang="0">
                    <a:pos x="359" y="121"/>
                  </a:cxn>
                  <a:cxn ang="0">
                    <a:pos x="173" y="67"/>
                  </a:cxn>
                  <a:cxn ang="0">
                    <a:pos x="26" y="170"/>
                  </a:cxn>
                  <a:cxn ang="0">
                    <a:pos x="17" y="241"/>
                  </a:cxn>
                  <a:cxn ang="0">
                    <a:pos x="26" y="289"/>
                  </a:cxn>
                  <a:cxn ang="0">
                    <a:pos x="85" y="331"/>
                  </a:cxn>
                  <a:cxn ang="0">
                    <a:pos x="177" y="341"/>
                  </a:cxn>
                  <a:cxn ang="0">
                    <a:pos x="234" y="364"/>
                  </a:cxn>
                  <a:cxn ang="0">
                    <a:pos x="220" y="463"/>
                  </a:cxn>
                  <a:cxn ang="0">
                    <a:pos x="184" y="534"/>
                  </a:cxn>
                  <a:cxn ang="0">
                    <a:pos x="276" y="593"/>
                  </a:cxn>
                  <a:cxn ang="0">
                    <a:pos x="241" y="683"/>
                  </a:cxn>
                  <a:cxn ang="0">
                    <a:pos x="246" y="733"/>
                  </a:cxn>
                  <a:cxn ang="0">
                    <a:pos x="229" y="801"/>
                  </a:cxn>
                  <a:cxn ang="0">
                    <a:pos x="347" y="870"/>
                  </a:cxn>
                  <a:cxn ang="0">
                    <a:pos x="451" y="919"/>
                  </a:cxn>
                  <a:cxn ang="0">
                    <a:pos x="527" y="929"/>
                  </a:cxn>
                  <a:cxn ang="0">
                    <a:pos x="565" y="964"/>
                  </a:cxn>
                  <a:cxn ang="0">
                    <a:pos x="591" y="1049"/>
                  </a:cxn>
                  <a:cxn ang="0">
                    <a:pos x="574" y="1122"/>
                  </a:cxn>
                  <a:cxn ang="0">
                    <a:pos x="574" y="1184"/>
                  </a:cxn>
                  <a:cxn ang="0">
                    <a:pos x="602" y="1231"/>
                  </a:cxn>
                  <a:cxn ang="0">
                    <a:pos x="673" y="1203"/>
                  </a:cxn>
                  <a:cxn ang="0">
                    <a:pos x="730" y="1257"/>
                  </a:cxn>
                  <a:cxn ang="0">
                    <a:pos x="834" y="1215"/>
                  </a:cxn>
                  <a:cxn ang="0">
                    <a:pos x="869" y="1222"/>
                  </a:cxn>
                  <a:cxn ang="0">
                    <a:pos x="940" y="1127"/>
                  </a:cxn>
                  <a:cxn ang="0">
                    <a:pos x="1013" y="1134"/>
                  </a:cxn>
                  <a:cxn ang="0">
                    <a:pos x="1110" y="1099"/>
                  </a:cxn>
                  <a:cxn ang="0">
                    <a:pos x="1158" y="1061"/>
                  </a:cxn>
                  <a:cxn ang="0">
                    <a:pos x="1120" y="1009"/>
                  </a:cxn>
                  <a:cxn ang="0">
                    <a:pos x="1091" y="955"/>
                  </a:cxn>
                  <a:cxn ang="0">
                    <a:pos x="1120" y="874"/>
                  </a:cxn>
                  <a:cxn ang="0">
                    <a:pos x="1127" y="763"/>
                  </a:cxn>
                  <a:cxn ang="0">
                    <a:pos x="1075" y="662"/>
                  </a:cxn>
                  <a:cxn ang="0">
                    <a:pos x="1084" y="567"/>
                  </a:cxn>
                  <a:cxn ang="0">
                    <a:pos x="1054" y="482"/>
                  </a:cxn>
                  <a:cxn ang="0">
                    <a:pos x="962" y="404"/>
                  </a:cxn>
                  <a:cxn ang="0">
                    <a:pos x="895" y="319"/>
                  </a:cxn>
                  <a:cxn ang="0">
                    <a:pos x="980" y="199"/>
                  </a:cxn>
                  <a:cxn ang="0">
                    <a:pos x="983" y="62"/>
                  </a:cxn>
                </a:cxnLst>
                <a:rect l="0" t="0" r="r" b="b"/>
                <a:pathLst>
                  <a:path w="1158" h="1257">
                    <a:moveTo>
                      <a:pt x="550" y="518"/>
                    </a:moveTo>
                    <a:lnTo>
                      <a:pt x="579" y="487"/>
                    </a:lnTo>
                    <a:lnTo>
                      <a:pt x="595" y="478"/>
                    </a:lnTo>
                    <a:lnTo>
                      <a:pt x="636" y="475"/>
                    </a:lnTo>
                    <a:lnTo>
                      <a:pt x="640" y="466"/>
                    </a:lnTo>
                    <a:lnTo>
                      <a:pt x="652" y="461"/>
                    </a:lnTo>
                    <a:lnTo>
                      <a:pt x="664" y="463"/>
                    </a:lnTo>
                    <a:lnTo>
                      <a:pt x="669" y="478"/>
                    </a:lnTo>
                    <a:lnTo>
                      <a:pt x="676" y="487"/>
                    </a:lnTo>
                    <a:lnTo>
                      <a:pt x="692" y="487"/>
                    </a:lnTo>
                    <a:lnTo>
                      <a:pt x="718" y="478"/>
                    </a:lnTo>
                    <a:lnTo>
                      <a:pt x="737" y="489"/>
                    </a:lnTo>
                    <a:lnTo>
                      <a:pt x="751" y="522"/>
                    </a:lnTo>
                    <a:lnTo>
                      <a:pt x="770" y="530"/>
                    </a:lnTo>
                    <a:lnTo>
                      <a:pt x="773" y="541"/>
                    </a:lnTo>
                    <a:lnTo>
                      <a:pt x="763" y="560"/>
                    </a:lnTo>
                    <a:lnTo>
                      <a:pt x="765" y="622"/>
                    </a:lnTo>
                    <a:lnTo>
                      <a:pt x="758" y="643"/>
                    </a:lnTo>
                    <a:lnTo>
                      <a:pt x="737" y="659"/>
                    </a:lnTo>
                    <a:lnTo>
                      <a:pt x="718" y="662"/>
                    </a:lnTo>
                    <a:lnTo>
                      <a:pt x="699" y="648"/>
                    </a:lnTo>
                    <a:lnTo>
                      <a:pt x="695" y="629"/>
                    </a:lnTo>
                    <a:lnTo>
                      <a:pt x="673" y="619"/>
                    </a:lnTo>
                    <a:lnTo>
                      <a:pt x="586" y="619"/>
                    </a:lnTo>
                    <a:lnTo>
                      <a:pt x="581" y="607"/>
                    </a:lnTo>
                    <a:lnTo>
                      <a:pt x="588" y="600"/>
                    </a:lnTo>
                    <a:lnTo>
                      <a:pt x="600" y="591"/>
                    </a:lnTo>
                    <a:lnTo>
                      <a:pt x="607" y="537"/>
                    </a:lnTo>
                    <a:lnTo>
                      <a:pt x="600" y="527"/>
                    </a:lnTo>
                    <a:lnTo>
                      <a:pt x="584" y="539"/>
                    </a:lnTo>
                    <a:lnTo>
                      <a:pt x="572" y="556"/>
                    </a:lnTo>
                    <a:lnTo>
                      <a:pt x="558" y="558"/>
                    </a:lnTo>
                    <a:lnTo>
                      <a:pt x="550" y="539"/>
                    </a:lnTo>
                    <a:lnTo>
                      <a:pt x="550" y="518"/>
                    </a:lnTo>
                    <a:lnTo>
                      <a:pt x="550" y="518"/>
                    </a:lnTo>
                    <a:close/>
                    <a:moveTo>
                      <a:pt x="983" y="62"/>
                    </a:moveTo>
                    <a:lnTo>
                      <a:pt x="983" y="62"/>
                    </a:lnTo>
                    <a:lnTo>
                      <a:pt x="971" y="74"/>
                    </a:lnTo>
                    <a:lnTo>
                      <a:pt x="959" y="90"/>
                    </a:lnTo>
                    <a:lnTo>
                      <a:pt x="938" y="109"/>
                    </a:lnTo>
                    <a:lnTo>
                      <a:pt x="917" y="114"/>
                    </a:lnTo>
                    <a:lnTo>
                      <a:pt x="891" y="81"/>
                    </a:lnTo>
                    <a:lnTo>
                      <a:pt x="876" y="52"/>
                    </a:lnTo>
                    <a:lnTo>
                      <a:pt x="865" y="31"/>
                    </a:lnTo>
                    <a:lnTo>
                      <a:pt x="848" y="10"/>
                    </a:lnTo>
                    <a:lnTo>
                      <a:pt x="834" y="0"/>
                    </a:lnTo>
                    <a:lnTo>
                      <a:pt x="822" y="5"/>
                    </a:lnTo>
                    <a:lnTo>
                      <a:pt x="784" y="33"/>
                    </a:lnTo>
                    <a:lnTo>
                      <a:pt x="763" y="31"/>
                    </a:lnTo>
                    <a:lnTo>
                      <a:pt x="735" y="24"/>
                    </a:lnTo>
                    <a:lnTo>
                      <a:pt x="711" y="29"/>
                    </a:lnTo>
                    <a:lnTo>
                      <a:pt x="687" y="41"/>
                    </a:lnTo>
                    <a:lnTo>
                      <a:pt x="680" y="59"/>
                    </a:lnTo>
                    <a:lnTo>
                      <a:pt x="678" y="83"/>
                    </a:lnTo>
                    <a:lnTo>
                      <a:pt x="664" y="100"/>
                    </a:lnTo>
                    <a:lnTo>
                      <a:pt x="643" y="107"/>
                    </a:lnTo>
                    <a:lnTo>
                      <a:pt x="628" y="128"/>
                    </a:lnTo>
                    <a:lnTo>
                      <a:pt x="612" y="137"/>
                    </a:lnTo>
                    <a:lnTo>
                      <a:pt x="569" y="135"/>
                    </a:lnTo>
                    <a:lnTo>
                      <a:pt x="553" y="140"/>
                    </a:lnTo>
                    <a:lnTo>
                      <a:pt x="532" y="152"/>
                    </a:lnTo>
                    <a:lnTo>
                      <a:pt x="522" y="168"/>
                    </a:lnTo>
                    <a:lnTo>
                      <a:pt x="515" y="187"/>
                    </a:lnTo>
                    <a:lnTo>
                      <a:pt x="494" y="178"/>
                    </a:lnTo>
                    <a:lnTo>
                      <a:pt x="470" y="166"/>
                    </a:lnTo>
                    <a:lnTo>
                      <a:pt x="444" y="159"/>
                    </a:lnTo>
                    <a:lnTo>
                      <a:pt x="421" y="156"/>
                    </a:lnTo>
                    <a:lnTo>
                      <a:pt x="402" y="147"/>
                    </a:lnTo>
                    <a:lnTo>
                      <a:pt x="378" y="130"/>
                    </a:lnTo>
                    <a:lnTo>
                      <a:pt x="359" y="121"/>
                    </a:lnTo>
                    <a:lnTo>
                      <a:pt x="265" y="121"/>
                    </a:lnTo>
                    <a:lnTo>
                      <a:pt x="236" y="104"/>
                    </a:lnTo>
                    <a:lnTo>
                      <a:pt x="215" y="88"/>
                    </a:lnTo>
                    <a:lnTo>
                      <a:pt x="196" y="76"/>
                    </a:lnTo>
                    <a:lnTo>
                      <a:pt x="173" y="67"/>
                    </a:lnTo>
                    <a:lnTo>
                      <a:pt x="154" y="78"/>
                    </a:lnTo>
                    <a:lnTo>
                      <a:pt x="128" y="111"/>
                    </a:lnTo>
                    <a:lnTo>
                      <a:pt x="104" y="119"/>
                    </a:lnTo>
                    <a:lnTo>
                      <a:pt x="47" y="149"/>
                    </a:lnTo>
                    <a:lnTo>
                      <a:pt x="26" y="170"/>
                    </a:lnTo>
                    <a:lnTo>
                      <a:pt x="17" y="192"/>
                    </a:lnTo>
                    <a:lnTo>
                      <a:pt x="14" y="213"/>
                    </a:lnTo>
                    <a:lnTo>
                      <a:pt x="21" y="227"/>
                    </a:lnTo>
                    <a:lnTo>
                      <a:pt x="17" y="234"/>
                    </a:lnTo>
                    <a:lnTo>
                      <a:pt x="17" y="241"/>
                    </a:lnTo>
                    <a:lnTo>
                      <a:pt x="7" y="253"/>
                    </a:lnTo>
                    <a:lnTo>
                      <a:pt x="0" y="267"/>
                    </a:lnTo>
                    <a:lnTo>
                      <a:pt x="10" y="274"/>
                    </a:lnTo>
                    <a:lnTo>
                      <a:pt x="17" y="284"/>
                    </a:lnTo>
                    <a:lnTo>
                      <a:pt x="26" y="289"/>
                    </a:lnTo>
                    <a:lnTo>
                      <a:pt x="47" y="289"/>
                    </a:lnTo>
                    <a:lnTo>
                      <a:pt x="59" y="300"/>
                    </a:lnTo>
                    <a:lnTo>
                      <a:pt x="66" y="319"/>
                    </a:lnTo>
                    <a:lnTo>
                      <a:pt x="69" y="329"/>
                    </a:lnTo>
                    <a:lnTo>
                      <a:pt x="85" y="331"/>
                    </a:lnTo>
                    <a:lnTo>
                      <a:pt x="95" y="336"/>
                    </a:lnTo>
                    <a:lnTo>
                      <a:pt x="118" y="341"/>
                    </a:lnTo>
                    <a:lnTo>
                      <a:pt x="142" y="341"/>
                    </a:lnTo>
                    <a:lnTo>
                      <a:pt x="165" y="341"/>
                    </a:lnTo>
                    <a:lnTo>
                      <a:pt x="177" y="341"/>
                    </a:lnTo>
                    <a:lnTo>
                      <a:pt x="191" y="355"/>
                    </a:lnTo>
                    <a:lnTo>
                      <a:pt x="199" y="359"/>
                    </a:lnTo>
                    <a:lnTo>
                      <a:pt x="215" y="359"/>
                    </a:lnTo>
                    <a:lnTo>
                      <a:pt x="227" y="355"/>
                    </a:lnTo>
                    <a:lnTo>
                      <a:pt x="234" y="364"/>
                    </a:lnTo>
                    <a:lnTo>
                      <a:pt x="234" y="378"/>
                    </a:lnTo>
                    <a:lnTo>
                      <a:pt x="232" y="409"/>
                    </a:lnTo>
                    <a:lnTo>
                      <a:pt x="229" y="423"/>
                    </a:lnTo>
                    <a:lnTo>
                      <a:pt x="227" y="447"/>
                    </a:lnTo>
                    <a:lnTo>
                      <a:pt x="220" y="463"/>
                    </a:lnTo>
                    <a:lnTo>
                      <a:pt x="220" y="487"/>
                    </a:lnTo>
                    <a:lnTo>
                      <a:pt x="208" y="499"/>
                    </a:lnTo>
                    <a:lnTo>
                      <a:pt x="189" y="513"/>
                    </a:lnTo>
                    <a:lnTo>
                      <a:pt x="184" y="525"/>
                    </a:lnTo>
                    <a:lnTo>
                      <a:pt x="184" y="534"/>
                    </a:lnTo>
                    <a:lnTo>
                      <a:pt x="199" y="551"/>
                    </a:lnTo>
                    <a:lnTo>
                      <a:pt x="232" y="560"/>
                    </a:lnTo>
                    <a:lnTo>
                      <a:pt x="262" y="565"/>
                    </a:lnTo>
                    <a:lnTo>
                      <a:pt x="274" y="579"/>
                    </a:lnTo>
                    <a:lnTo>
                      <a:pt x="276" y="593"/>
                    </a:lnTo>
                    <a:lnTo>
                      <a:pt x="274" y="607"/>
                    </a:lnTo>
                    <a:lnTo>
                      <a:pt x="262" y="626"/>
                    </a:lnTo>
                    <a:lnTo>
                      <a:pt x="255" y="645"/>
                    </a:lnTo>
                    <a:lnTo>
                      <a:pt x="246" y="664"/>
                    </a:lnTo>
                    <a:lnTo>
                      <a:pt x="241" y="683"/>
                    </a:lnTo>
                    <a:lnTo>
                      <a:pt x="246" y="700"/>
                    </a:lnTo>
                    <a:lnTo>
                      <a:pt x="255" y="709"/>
                    </a:lnTo>
                    <a:lnTo>
                      <a:pt x="255" y="718"/>
                    </a:lnTo>
                    <a:lnTo>
                      <a:pt x="253" y="730"/>
                    </a:lnTo>
                    <a:lnTo>
                      <a:pt x="246" y="733"/>
                    </a:lnTo>
                    <a:lnTo>
                      <a:pt x="229" y="737"/>
                    </a:lnTo>
                    <a:lnTo>
                      <a:pt x="217" y="744"/>
                    </a:lnTo>
                    <a:lnTo>
                      <a:pt x="215" y="761"/>
                    </a:lnTo>
                    <a:lnTo>
                      <a:pt x="220" y="782"/>
                    </a:lnTo>
                    <a:lnTo>
                      <a:pt x="229" y="801"/>
                    </a:lnTo>
                    <a:lnTo>
                      <a:pt x="248" y="827"/>
                    </a:lnTo>
                    <a:lnTo>
                      <a:pt x="267" y="844"/>
                    </a:lnTo>
                    <a:lnTo>
                      <a:pt x="295" y="855"/>
                    </a:lnTo>
                    <a:lnTo>
                      <a:pt x="317" y="860"/>
                    </a:lnTo>
                    <a:lnTo>
                      <a:pt x="347" y="870"/>
                    </a:lnTo>
                    <a:lnTo>
                      <a:pt x="362" y="877"/>
                    </a:lnTo>
                    <a:lnTo>
                      <a:pt x="385" y="886"/>
                    </a:lnTo>
                    <a:lnTo>
                      <a:pt x="409" y="896"/>
                    </a:lnTo>
                    <a:lnTo>
                      <a:pt x="435" y="905"/>
                    </a:lnTo>
                    <a:lnTo>
                      <a:pt x="451" y="919"/>
                    </a:lnTo>
                    <a:lnTo>
                      <a:pt x="461" y="933"/>
                    </a:lnTo>
                    <a:lnTo>
                      <a:pt x="473" y="943"/>
                    </a:lnTo>
                    <a:lnTo>
                      <a:pt x="499" y="945"/>
                    </a:lnTo>
                    <a:lnTo>
                      <a:pt x="517" y="943"/>
                    </a:lnTo>
                    <a:lnTo>
                      <a:pt x="527" y="929"/>
                    </a:lnTo>
                    <a:lnTo>
                      <a:pt x="541" y="924"/>
                    </a:lnTo>
                    <a:lnTo>
                      <a:pt x="553" y="922"/>
                    </a:lnTo>
                    <a:lnTo>
                      <a:pt x="562" y="929"/>
                    </a:lnTo>
                    <a:lnTo>
                      <a:pt x="565" y="941"/>
                    </a:lnTo>
                    <a:lnTo>
                      <a:pt x="565" y="964"/>
                    </a:lnTo>
                    <a:lnTo>
                      <a:pt x="565" y="988"/>
                    </a:lnTo>
                    <a:lnTo>
                      <a:pt x="569" y="1000"/>
                    </a:lnTo>
                    <a:lnTo>
                      <a:pt x="581" y="1018"/>
                    </a:lnTo>
                    <a:lnTo>
                      <a:pt x="588" y="1037"/>
                    </a:lnTo>
                    <a:lnTo>
                      <a:pt x="591" y="1049"/>
                    </a:lnTo>
                    <a:lnTo>
                      <a:pt x="586" y="1068"/>
                    </a:lnTo>
                    <a:lnTo>
                      <a:pt x="581" y="1082"/>
                    </a:lnTo>
                    <a:lnTo>
                      <a:pt x="584" y="1096"/>
                    </a:lnTo>
                    <a:lnTo>
                      <a:pt x="581" y="1111"/>
                    </a:lnTo>
                    <a:lnTo>
                      <a:pt x="574" y="1122"/>
                    </a:lnTo>
                    <a:lnTo>
                      <a:pt x="574" y="1134"/>
                    </a:lnTo>
                    <a:lnTo>
                      <a:pt x="576" y="1144"/>
                    </a:lnTo>
                    <a:lnTo>
                      <a:pt x="584" y="1153"/>
                    </a:lnTo>
                    <a:lnTo>
                      <a:pt x="584" y="1170"/>
                    </a:lnTo>
                    <a:lnTo>
                      <a:pt x="574" y="1184"/>
                    </a:lnTo>
                    <a:lnTo>
                      <a:pt x="565" y="1196"/>
                    </a:lnTo>
                    <a:lnTo>
                      <a:pt x="574" y="1203"/>
                    </a:lnTo>
                    <a:lnTo>
                      <a:pt x="579" y="1210"/>
                    </a:lnTo>
                    <a:lnTo>
                      <a:pt x="588" y="1224"/>
                    </a:lnTo>
                    <a:lnTo>
                      <a:pt x="602" y="1231"/>
                    </a:lnTo>
                    <a:lnTo>
                      <a:pt x="624" y="1229"/>
                    </a:lnTo>
                    <a:lnTo>
                      <a:pt x="638" y="1224"/>
                    </a:lnTo>
                    <a:lnTo>
                      <a:pt x="652" y="1215"/>
                    </a:lnTo>
                    <a:lnTo>
                      <a:pt x="664" y="1203"/>
                    </a:lnTo>
                    <a:lnTo>
                      <a:pt x="673" y="1203"/>
                    </a:lnTo>
                    <a:lnTo>
                      <a:pt x="685" y="1203"/>
                    </a:lnTo>
                    <a:lnTo>
                      <a:pt x="695" y="1212"/>
                    </a:lnTo>
                    <a:lnTo>
                      <a:pt x="702" y="1231"/>
                    </a:lnTo>
                    <a:lnTo>
                      <a:pt x="711" y="1248"/>
                    </a:lnTo>
                    <a:lnTo>
                      <a:pt x="730" y="1257"/>
                    </a:lnTo>
                    <a:lnTo>
                      <a:pt x="754" y="1257"/>
                    </a:lnTo>
                    <a:lnTo>
                      <a:pt x="780" y="1250"/>
                    </a:lnTo>
                    <a:lnTo>
                      <a:pt x="801" y="1243"/>
                    </a:lnTo>
                    <a:lnTo>
                      <a:pt x="820" y="1229"/>
                    </a:lnTo>
                    <a:lnTo>
                      <a:pt x="834" y="1215"/>
                    </a:lnTo>
                    <a:lnTo>
                      <a:pt x="843" y="1203"/>
                    </a:lnTo>
                    <a:lnTo>
                      <a:pt x="858" y="1203"/>
                    </a:lnTo>
                    <a:lnTo>
                      <a:pt x="860" y="1215"/>
                    </a:lnTo>
                    <a:lnTo>
                      <a:pt x="862" y="1243"/>
                    </a:lnTo>
                    <a:lnTo>
                      <a:pt x="869" y="1222"/>
                    </a:lnTo>
                    <a:lnTo>
                      <a:pt x="879" y="1191"/>
                    </a:lnTo>
                    <a:lnTo>
                      <a:pt x="886" y="1167"/>
                    </a:lnTo>
                    <a:lnTo>
                      <a:pt x="895" y="1148"/>
                    </a:lnTo>
                    <a:lnTo>
                      <a:pt x="921" y="1134"/>
                    </a:lnTo>
                    <a:lnTo>
                      <a:pt x="940" y="1127"/>
                    </a:lnTo>
                    <a:lnTo>
                      <a:pt x="954" y="1130"/>
                    </a:lnTo>
                    <a:lnTo>
                      <a:pt x="969" y="1137"/>
                    </a:lnTo>
                    <a:lnTo>
                      <a:pt x="980" y="1144"/>
                    </a:lnTo>
                    <a:lnTo>
                      <a:pt x="999" y="1144"/>
                    </a:lnTo>
                    <a:lnTo>
                      <a:pt x="1013" y="1134"/>
                    </a:lnTo>
                    <a:lnTo>
                      <a:pt x="1039" y="1118"/>
                    </a:lnTo>
                    <a:lnTo>
                      <a:pt x="1068" y="1096"/>
                    </a:lnTo>
                    <a:lnTo>
                      <a:pt x="1080" y="1094"/>
                    </a:lnTo>
                    <a:lnTo>
                      <a:pt x="1094" y="1096"/>
                    </a:lnTo>
                    <a:lnTo>
                      <a:pt x="1110" y="1099"/>
                    </a:lnTo>
                    <a:lnTo>
                      <a:pt x="1127" y="1104"/>
                    </a:lnTo>
                    <a:lnTo>
                      <a:pt x="1141" y="1104"/>
                    </a:lnTo>
                    <a:lnTo>
                      <a:pt x="1158" y="1096"/>
                    </a:lnTo>
                    <a:lnTo>
                      <a:pt x="1158" y="1082"/>
                    </a:lnTo>
                    <a:lnTo>
                      <a:pt x="1158" y="1061"/>
                    </a:lnTo>
                    <a:lnTo>
                      <a:pt x="1155" y="1047"/>
                    </a:lnTo>
                    <a:lnTo>
                      <a:pt x="1146" y="1040"/>
                    </a:lnTo>
                    <a:lnTo>
                      <a:pt x="1134" y="1030"/>
                    </a:lnTo>
                    <a:lnTo>
                      <a:pt x="1125" y="1023"/>
                    </a:lnTo>
                    <a:lnTo>
                      <a:pt x="1120" y="1009"/>
                    </a:lnTo>
                    <a:lnTo>
                      <a:pt x="1120" y="1000"/>
                    </a:lnTo>
                    <a:lnTo>
                      <a:pt x="1117" y="993"/>
                    </a:lnTo>
                    <a:lnTo>
                      <a:pt x="1103" y="985"/>
                    </a:lnTo>
                    <a:lnTo>
                      <a:pt x="1094" y="974"/>
                    </a:lnTo>
                    <a:lnTo>
                      <a:pt x="1091" y="955"/>
                    </a:lnTo>
                    <a:lnTo>
                      <a:pt x="1091" y="936"/>
                    </a:lnTo>
                    <a:lnTo>
                      <a:pt x="1106" y="919"/>
                    </a:lnTo>
                    <a:lnTo>
                      <a:pt x="1115" y="905"/>
                    </a:lnTo>
                    <a:lnTo>
                      <a:pt x="1120" y="893"/>
                    </a:lnTo>
                    <a:lnTo>
                      <a:pt x="1120" y="874"/>
                    </a:lnTo>
                    <a:lnTo>
                      <a:pt x="1125" y="855"/>
                    </a:lnTo>
                    <a:lnTo>
                      <a:pt x="1129" y="841"/>
                    </a:lnTo>
                    <a:lnTo>
                      <a:pt x="1132" y="820"/>
                    </a:lnTo>
                    <a:lnTo>
                      <a:pt x="1127" y="794"/>
                    </a:lnTo>
                    <a:lnTo>
                      <a:pt x="1127" y="763"/>
                    </a:lnTo>
                    <a:lnTo>
                      <a:pt x="1125" y="735"/>
                    </a:lnTo>
                    <a:lnTo>
                      <a:pt x="1122" y="700"/>
                    </a:lnTo>
                    <a:lnTo>
                      <a:pt x="1110" y="693"/>
                    </a:lnTo>
                    <a:lnTo>
                      <a:pt x="1091" y="685"/>
                    </a:lnTo>
                    <a:lnTo>
                      <a:pt x="1075" y="662"/>
                    </a:lnTo>
                    <a:lnTo>
                      <a:pt x="1070" y="648"/>
                    </a:lnTo>
                    <a:lnTo>
                      <a:pt x="1068" y="631"/>
                    </a:lnTo>
                    <a:lnTo>
                      <a:pt x="1068" y="607"/>
                    </a:lnTo>
                    <a:lnTo>
                      <a:pt x="1070" y="586"/>
                    </a:lnTo>
                    <a:lnTo>
                      <a:pt x="1084" y="567"/>
                    </a:lnTo>
                    <a:lnTo>
                      <a:pt x="1089" y="558"/>
                    </a:lnTo>
                    <a:lnTo>
                      <a:pt x="1089" y="537"/>
                    </a:lnTo>
                    <a:lnTo>
                      <a:pt x="1087" y="518"/>
                    </a:lnTo>
                    <a:lnTo>
                      <a:pt x="1075" y="506"/>
                    </a:lnTo>
                    <a:lnTo>
                      <a:pt x="1054" y="482"/>
                    </a:lnTo>
                    <a:lnTo>
                      <a:pt x="1025" y="459"/>
                    </a:lnTo>
                    <a:lnTo>
                      <a:pt x="1011" y="435"/>
                    </a:lnTo>
                    <a:lnTo>
                      <a:pt x="995" y="416"/>
                    </a:lnTo>
                    <a:lnTo>
                      <a:pt x="976" y="409"/>
                    </a:lnTo>
                    <a:lnTo>
                      <a:pt x="962" y="404"/>
                    </a:lnTo>
                    <a:lnTo>
                      <a:pt x="931" y="376"/>
                    </a:lnTo>
                    <a:lnTo>
                      <a:pt x="917" y="369"/>
                    </a:lnTo>
                    <a:lnTo>
                      <a:pt x="891" y="357"/>
                    </a:lnTo>
                    <a:lnTo>
                      <a:pt x="891" y="343"/>
                    </a:lnTo>
                    <a:lnTo>
                      <a:pt x="895" y="319"/>
                    </a:lnTo>
                    <a:lnTo>
                      <a:pt x="905" y="303"/>
                    </a:lnTo>
                    <a:lnTo>
                      <a:pt x="926" y="289"/>
                    </a:lnTo>
                    <a:lnTo>
                      <a:pt x="940" y="270"/>
                    </a:lnTo>
                    <a:lnTo>
                      <a:pt x="945" y="241"/>
                    </a:lnTo>
                    <a:lnTo>
                      <a:pt x="980" y="199"/>
                    </a:lnTo>
                    <a:lnTo>
                      <a:pt x="1002" y="159"/>
                    </a:lnTo>
                    <a:lnTo>
                      <a:pt x="1013" y="128"/>
                    </a:lnTo>
                    <a:lnTo>
                      <a:pt x="1009" y="109"/>
                    </a:lnTo>
                    <a:lnTo>
                      <a:pt x="999" y="83"/>
                    </a:lnTo>
                    <a:lnTo>
                      <a:pt x="983" y="62"/>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sp>
            <p:nvSpPr>
              <p:cNvPr id="36" name="Freeform 35"/>
              <p:cNvSpPr>
                <a:spLocks/>
              </p:cNvSpPr>
              <p:nvPr/>
            </p:nvSpPr>
            <p:spPr bwMode="gray">
              <a:xfrm>
                <a:off x="-2970213" y="1163638"/>
                <a:ext cx="354012" cy="319088"/>
              </a:xfrm>
              <a:custGeom>
                <a:avLst/>
                <a:gdLst/>
                <a:ahLst/>
                <a:cxnLst>
                  <a:cxn ang="0">
                    <a:pos x="0" y="57"/>
                  </a:cxn>
                  <a:cxn ang="0">
                    <a:pos x="29" y="26"/>
                  </a:cxn>
                  <a:cxn ang="0">
                    <a:pos x="45" y="17"/>
                  </a:cxn>
                  <a:cxn ang="0">
                    <a:pos x="86" y="14"/>
                  </a:cxn>
                  <a:cxn ang="0">
                    <a:pos x="90" y="5"/>
                  </a:cxn>
                  <a:cxn ang="0">
                    <a:pos x="102" y="0"/>
                  </a:cxn>
                  <a:cxn ang="0">
                    <a:pos x="114" y="2"/>
                  </a:cxn>
                  <a:cxn ang="0">
                    <a:pos x="119" y="17"/>
                  </a:cxn>
                  <a:cxn ang="0">
                    <a:pos x="126" y="26"/>
                  </a:cxn>
                  <a:cxn ang="0">
                    <a:pos x="142" y="26"/>
                  </a:cxn>
                  <a:cxn ang="0">
                    <a:pos x="154" y="21"/>
                  </a:cxn>
                  <a:cxn ang="0">
                    <a:pos x="168" y="17"/>
                  </a:cxn>
                  <a:cxn ang="0">
                    <a:pos x="187" y="28"/>
                  </a:cxn>
                  <a:cxn ang="0">
                    <a:pos x="197" y="52"/>
                  </a:cxn>
                  <a:cxn ang="0">
                    <a:pos x="201" y="61"/>
                  </a:cxn>
                  <a:cxn ang="0">
                    <a:pos x="220" y="69"/>
                  </a:cxn>
                  <a:cxn ang="0">
                    <a:pos x="223" y="80"/>
                  </a:cxn>
                  <a:cxn ang="0">
                    <a:pos x="220" y="90"/>
                  </a:cxn>
                  <a:cxn ang="0">
                    <a:pos x="213" y="99"/>
                  </a:cxn>
                  <a:cxn ang="0">
                    <a:pos x="215" y="139"/>
                  </a:cxn>
                  <a:cxn ang="0">
                    <a:pos x="215" y="161"/>
                  </a:cxn>
                  <a:cxn ang="0">
                    <a:pos x="208" y="182"/>
                  </a:cxn>
                  <a:cxn ang="0">
                    <a:pos x="187" y="198"/>
                  </a:cxn>
                  <a:cxn ang="0">
                    <a:pos x="168" y="201"/>
                  </a:cxn>
                  <a:cxn ang="0">
                    <a:pos x="149" y="187"/>
                  </a:cxn>
                  <a:cxn ang="0">
                    <a:pos x="145" y="168"/>
                  </a:cxn>
                  <a:cxn ang="0">
                    <a:pos x="123" y="158"/>
                  </a:cxn>
                  <a:cxn ang="0">
                    <a:pos x="90" y="158"/>
                  </a:cxn>
                  <a:cxn ang="0">
                    <a:pos x="55" y="158"/>
                  </a:cxn>
                  <a:cxn ang="0">
                    <a:pos x="36" y="158"/>
                  </a:cxn>
                  <a:cxn ang="0">
                    <a:pos x="31" y="146"/>
                  </a:cxn>
                  <a:cxn ang="0">
                    <a:pos x="38" y="139"/>
                  </a:cxn>
                  <a:cxn ang="0">
                    <a:pos x="50" y="130"/>
                  </a:cxn>
                  <a:cxn ang="0">
                    <a:pos x="55" y="106"/>
                  </a:cxn>
                  <a:cxn ang="0">
                    <a:pos x="57" y="76"/>
                  </a:cxn>
                  <a:cxn ang="0">
                    <a:pos x="50" y="66"/>
                  </a:cxn>
                  <a:cxn ang="0">
                    <a:pos x="34" y="78"/>
                  </a:cxn>
                  <a:cxn ang="0">
                    <a:pos x="22" y="95"/>
                  </a:cxn>
                  <a:cxn ang="0">
                    <a:pos x="8" y="97"/>
                  </a:cxn>
                  <a:cxn ang="0">
                    <a:pos x="0" y="78"/>
                  </a:cxn>
                  <a:cxn ang="0">
                    <a:pos x="0" y="78"/>
                  </a:cxn>
                  <a:cxn ang="0">
                    <a:pos x="0" y="78"/>
                  </a:cxn>
                  <a:cxn ang="0">
                    <a:pos x="0" y="57"/>
                  </a:cxn>
                </a:cxnLst>
                <a:rect l="0" t="0" r="r" b="b"/>
                <a:pathLst>
                  <a:path w="223" h="201">
                    <a:moveTo>
                      <a:pt x="0" y="57"/>
                    </a:moveTo>
                    <a:lnTo>
                      <a:pt x="29" y="26"/>
                    </a:lnTo>
                    <a:lnTo>
                      <a:pt x="45" y="17"/>
                    </a:lnTo>
                    <a:lnTo>
                      <a:pt x="86" y="14"/>
                    </a:lnTo>
                    <a:lnTo>
                      <a:pt x="90" y="5"/>
                    </a:lnTo>
                    <a:lnTo>
                      <a:pt x="102" y="0"/>
                    </a:lnTo>
                    <a:lnTo>
                      <a:pt x="114" y="2"/>
                    </a:lnTo>
                    <a:lnTo>
                      <a:pt x="119" y="17"/>
                    </a:lnTo>
                    <a:lnTo>
                      <a:pt x="126" y="26"/>
                    </a:lnTo>
                    <a:lnTo>
                      <a:pt x="142" y="26"/>
                    </a:lnTo>
                    <a:lnTo>
                      <a:pt x="154" y="21"/>
                    </a:lnTo>
                    <a:lnTo>
                      <a:pt x="168" y="17"/>
                    </a:lnTo>
                    <a:lnTo>
                      <a:pt x="187" y="28"/>
                    </a:lnTo>
                    <a:lnTo>
                      <a:pt x="197" y="52"/>
                    </a:lnTo>
                    <a:lnTo>
                      <a:pt x="201" y="61"/>
                    </a:lnTo>
                    <a:lnTo>
                      <a:pt x="220" y="69"/>
                    </a:lnTo>
                    <a:lnTo>
                      <a:pt x="223" y="80"/>
                    </a:lnTo>
                    <a:lnTo>
                      <a:pt x="220" y="90"/>
                    </a:lnTo>
                    <a:lnTo>
                      <a:pt x="213" y="99"/>
                    </a:lnTo>
                    <a:lnTo>
                      <a:pt x="215" y="139"/>
                    </a:lnTo>
                    <a:lnTo>
                      <a:pt x="215" y="161"/>
                    </a:lnTo>
                    <a:lnTo>
                      <a:pt x="208" y="182"/>
                    </a:lnTo>
                    <a:lnTo>
                      <a:pt x="187" y="198"/>
                    </a:lnTo>
                    <a:lnTo>
                      <a:pt x="168" y="201"/>
                    </a:lnTo>
                    <a:lnTo>
                      <a:pt x="149" y="187"/>
                    </a:lnTo>
                    <a:lnTo>
                      <a:pt x="145" y="168"/>
                    </a:lnTo>
                    <a:lnTo>
                      <a:pt x="123" y="158"/>
                    </a:lnTo>
                    <a:lnTo>
                      <a:pt x="90" y="158"/>
                    </a:lnTo>
                    <a:lnTo>
                      <a:pt x="55" y="158"/>
                    </a:lnTo>
                    <a:lnTo>
                      <a:pt x="36" y="158"/>
                    </a:lnTo>
                    <a:lnTo>
                      <a:pt x="31" y="146"/>
                    </a:lnTo>
                    <a:lnTo>
                      <a:pt x="38" y="139"/>
                    </a:lnTo>
                    <a:lnTo>
                      <a:pt x="50" y="130"/>
                    </a:lnTo>
                    <a:lnTo>
                      <a:pt x="55" y="106"/>
                    </a:lnTo>
                    <a:lnTo>
                      <a:pt x="57" y="76"/>
                    </a:lnTo>
                    <a:lnTo>
                      <a:pt x="50" y="66"/>
                    </a:lnTo>
                    <a:lnTo>
                      <a:pt x="34" y="78"/>
                    </a:lnTo>
                    <a:lnTo>
                      <a:pt x="22" y="95"/>
                    </a:lnTo>
                    <a:lnTo>
                      <a:pt x="8" y="97"/>
                    </a:lnTo>
                    <a:lnTo>
                      <a:pt x="0" y="78"/>
                    </a:lnTo>
                    <a:lnTo>
                      <a:pt x="0" y="78"/>
                    </a:lnTo>
                    <a:lnTo>
                      <a:pt x="0" y="78"/>
                    </a:lnTo>
                    <a:lnTo>
                      <a:pt x="0" y="57"/>
                    </a:lnTo>
                    <a:close/>
                  </a:path>
                </a:pathLst>
              </a:custGeom>
              <a:grpFill/>
              <a:ln w="9525" cap="rnd" cmpd="sng">
                <a:solidFill>
                  <a:schemeClr val="tx2"/>
                </a:solidFill>
                <a:prstDash val="solid"/>
                <a:round/>
                <a:headEnd/>
                <a:tailEnd/>
              </a:ln>
              <a:effectLst/>
            </p:spPr>
            <p:txBody>
              <a:bodyPr vert="horz" wrap="square" lIns="91440" tIns="45720" rIns="91440" bIns="45720" numCol="1" anchor="t" anchorCtr="0" compatLnSpc="1">
                <a:prstTxWarp prst="textNoShape">
                  <a:avLst/>
                </a:prstTxWarp>
              </a:bodyPr>
              <a:lstStyle/>
              <a:p>
                <a:endParaRPr lang="de-DE"/>
              </a:p>
            </p:txBody>
          </p:sp>
        </p:grpSp>
        <p:sp>
          <p:nvSpPr>
            <p:cNvPr id="37" name="Ellipse 36"/>
            <p:cNvSpPr/>
            <p:nvPr>
              <p:custDataLst>
                <p:tags r:id="rId5"/>
              </p:custDataLst>
            </p:nvPr>
          </p:nvSpPr>
          <p:spPr bwMode="gray">
            <a:xfrm>
              <a:off x="4446233" y="2618111"/>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38" name="Ellipse 37"/>
            <p:cNvSpPr/>
            <p:nvPr>
              <p:custDataLst>
                <p:tags r:id="rId6"/>
              </p:custDataLst>
            </p:nvPr>
          </p:nvSpPr>
          <p:spPr bwMode="gray">
            <a:xfrm>
              <a:off x="4273977" y="3255444"/>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39" name="Ellipse 38"/>
            <p:cNvSpPr/>
            <p:nvPr>
              <p:custDataLst>
                <p:tags r:id="rId7"/>
              </p:custDataLst>
            </p:nvPr>
          </p:nvSpPr>
          <p:spPr bwMode="gray">
            <a:xfrm>
              <a:off x="5613967" y="3178440"/>
              <a:ext cx="77809" cy="77809"/>
            </a:xfrm>
            <a:prstGeom prst="ellipse">
              <a:avLst/>
            </a:prstGeom>
            <a:solidFill>
              <a:schemeClr val="accent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40" name="Ellipse 39"/>
            <p:cNvSpPr/>
            <p:nvPr>
              <p:custDataLst>
                <p:tags r:id="rId8"/>
              </p:custDataLst>
            </p:nvPr>
          </p:nvSpPr>
          <p:spPr bwMode="gray">
            <a:xfrm>
              <a:off x="3849716" y="3460682"/>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41" name="Ellipse 40"/>
            <p:cNvSpPr/>
            <p:nvPr>
              <p:custDataLst>
                <p:tags r:id="rId9"/>
              </p:custDataLst>
            </p:nvPr>
          </p:nvSpPr>
          <p:spPr bwMode="gray">
            <a:xfrm>
              <a:off x="3525818" y="3480536"/>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42" name="Ellipse 41"/>
            <p:cNvSpPr/>
            <p:nvPr>
              <p:custDataLst>
                <p:tags r:id="rId10"/>
              </p:custDataLst>
            </p:nvPr>
          </p:nvSpPr>
          <p:spPr bwMode="gray">
            <a:xfrm>
              <a:off x="3270637" y="4020712"/>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43" name="Ellipse 42"/>
            <p:cNvSpPr/>
            <p:nvPr>
              <p:custDataLst>
                <p:tags r:id="rId11"/>
              </p:custDataLst>
            </p:nvPr>
          </p:nvSpPr>
          <p:spPr bwMode="gray">
            <a:xfrm>
              <a:off x="3906059" y="4499422"/>
              <a:ext cx="77809" cy="77809"/>
            </a:xfrm>
            <a:prstGeom prst="ellipse">
              <a:avLst/>
            </a:prstGeom>
            <a:solidFill>
              <a:schemeClr val="tx2">
                <a:lumMod val="60000"/>
                <a:lumOff val="40000"/>
              </a:schemeClr>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44" name="Ellipse 43"/>
            <p:cNvSpPr/>
            <p:nvPr>
              <p:custDataLst>
                <p:tags r:id="rId12"/>
              </p:custDataLst>
            </p:nvPr>
          </p:nvSpPr>
          <p:spPr bwMode="gray">
            <a:xfrm>
              <a:off x="3241775" y="4871325"/>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45" name="Ellipse 44"/>
            <p:cNvSpPr/>
            <p:nvPr>
              <p:custDataLst>
                <p:tags r:id="rId13"/>
              </p:custDataLst>
            </p:nvPr>
          </p:nvSpPr>
          <p:spPr bwMode="gray">
            <a:xfrm>
              <a:off x="3730866" y="4880328"/>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46" name="Ellipse 45"/>
            <p:cNvSpPr/>
            <p:nvPr>
              <p:custDataLst>
                <p:tags r:id="rId14"/>
              </p:custDataLst>
            </p:nvPr>
          </p:nvSpPr>
          <p:spPr bwMode="gray">
            <a:xfrm>
              <a:off x="4043152" y="5284831"/>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47" name="Ellipse 46"/>
            <p:cNvSpPr/>
            <p:nvPr>
              <p:custDataLst>
                <p:tags r:id="rId15"/>
              </p:custDataLst>
            </p:nvPr>
          </p:nvSpPr>
          <p:spPr bwMode="gray">
            <a:xfrm>
              <a:off x="4951958" y="5654898"/>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48" name="Ellipse 47"/>
            <p:cNvSpPr/>
            <p:nvPr>
              <p:custDataLst>
                <p:tags r:id="rId16"/>
              </p:custDataLst>
            </p:nvPr>
          </p:nvSpPr>
          <p:spPr bwMode="gray">
            <a:xfrm>
              <a:off x="5125632" y="5144529"/>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49" name="Ellipse 48"/>
            <p:cNvSpPr/>
            <p:nvPr>
              <p:custDataLst>
                <p:tags r:id="rId17"/>
              </p:custDataLst>
            </p:nvPr>
          </p:nvSpPr>
          <p:spPr bwMode="gray">
            <a:xfrm>
              <a:off x="4580387" y="4979301"/>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50" name="Ellipse 49"/>
            <p:cNvSpPr/>
            <p:nvPr>
              <p:custDataLst>
                <p:tags r:id="rId18"/>
              </p:custDataLst>
            </p:nvPr>
          </p:nvSpPr>
          <p:spPr bwMode="gray">
            <a:xfrm>
              <a:off x="4668529" y="4860473"/>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51" name="Ellipse 50"/>
            <p:cNvSpPr/>
            <p:nvPr>
              <p:custDataLst>
                <p:tags r:id="rId19"/>
              </p:custDataLst>
            </p:nvPr>
          </p:nvSpPr>
          <p:spPr bwMode="gray">
            <a:xfrm>
              <a:off x="4675306" y="4656968"/>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52" name="Ellipse 51"/>
            <p:cNvSpPr/>
            <p:nvPr>
              <p:custDataLst>
                <p:tags r:id="rId20"/>
              </p:custDataLst>
            </p:nvPr>
          </p:nvSpPr>
          <p:spPr bwMode="gray">
            <a:xfrm>
              <a:off x="4924092" y="4618063"/>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53" name="Ellipse 52"/>
            <p:cNvSpPr/>
            <p:nvPr>
              <p:custDataLst>
                <p:tags r:id="rId21"/>
              </p:custDataLst>
            </p:nvPr>
          </p:nvSpPr>
          <p:spPr bwMode="gray">
            <a:xfrm>
              <a:off x="4880874" y="4531976"/>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54" name="Ellipse 53"/>
            <p:cNvSpPr/>
            <p:nvPr>
              <p:custDataLst>
                <p:tags r:id="rId22"/>
              </p:custDataLst>
            </p:nvPr>
          </p:nvSpPr>
          <p:spPr bwMode="gray">
            <a:xfrm>
              <a:off x="5670358" y="3978172"/>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55" name="Ellipse 54"/>
            <p:cNvSpPr/>
            <p:nvPr>
              <p:custDataLst>
                <p:tags r:id="rId23"/>
              </p:custDataLst>
            </p:nvPr>
          </p:nvSpPr>
          <p:spPr bwMode="gray">
            <a:xfrm>
              <a:off x="5401147" y="4109165"/>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56" name="Ellipse 55"/>
            <p:cNvSpPr/>
            <p:nvPr>
              <p:custDataLst>
                <p:tags r:id="rId24"/>
              </p:custDataLst>
            </p:nvPr>
          </p:nvSpPr>
          <p:spPr bwMode="gray">
            <a:xfrm>
              <a:off x="4924092" y="4084238"/>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57" name="Ellipse 56"/>
            <p:cNvSpPr/>
            <p:nvPr>
              <p:custDataLst>
                <p:tags r:id="rId25"/>
              </p:custDataLst>
            </p:nvPr>
          </p:nvSpPr>
          <p:spPr bwMode="gray">
            <a:xfrm>
              <a:off x="5177236" y="4342853"/>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58" name="Ellipse 57"/>
            <p:cNvSpPr/>
            <p:nvPr>
              <p:custDataLst>
                <p:tags r:id="rId26"/>
              </p:custDataLst>
            </p:nvPr>
          </p:nvSpPr>
          <p:spPr bwMode="gray">
            <a:xfrm>
              <a:off x="5047823" y="4439432"/>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59" name="Ellipse 58"/>
            <p:cNvSpPr/>
            <p:nvPr>
              <p:custDataLst>
                <p:tags r:id="rId27"/>
              </p:custDataLst>
            </p:nvPr>
          </p:nvSpPr>
          <p:spPr bwMode="gray">
            <a:xfrm>
              <a:off x="5140369" y="4579141"/>
              <a:ext cx="77809" cy="77809"/>
            </a:xfrm>
            <a:prstGeom prst="ellipse">
              <a:avLst/>
            </a:prstGeom>
            <a:solidFill>
              <a:schemeClr val="tx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60" name="Ellipse 59"/>
            <p:cNvSpPr/>
            <p:nvPr>
              <p:custDataLst>
                <p:tags r:id="rId28"/>
              </p:custDataLst>
            </p:nvPr>
          </p:nvSpPr>
          <p:spPr bwMode="gray">
            <a:xfrm>
              <a:off x="4746765" y="4910718"/>
              <a:ext cx="77809" cy="77809"/>
            </a:xfrm>
            <a:prstGeom prst="ellipse">
              <a:avLst/>
            </a:prstGeom>
            <a:solidFill>
              <a:schemeClr val="accent2"/>
            </a:solidFill>
            <a:ln w="6350" algn="ctr">
              <a:noFill/>
              <a:miter lim="800000"/>
              <a:headEnd/>
              <a:tailEnd/>
            </a:ln>
            <a:effectLst>
              <a:outerShdw blurRad="50800" dist="38100" dir="2700000" algn="tl" rotWithShape="0">
                <a:schemeClr val="tx1">
                  <a:lumMod val="75000"/>
                  <a:lumOff val="25000"/>
                  <a:alpha val="40000"/>
                </a:schemeClr>
              </a:outerShdw>
            </a:effectLst>
          </p:spPr>
          <p:txBody>
            <a:bodyPr lIns="90000" tIns="54000" rIns="90000" bIns="54000" anchor="b" anchorCtr="0"/>
            <a:lstStyle/>
            <a:p>
              <a:pPr indent="-312738" defTabSz="914179" eaLnBrk="0" fontAlgn="base" hangingPunct="0">
                <a:spcBef>
                  <a:spcPct val="0"/>
                </a:spcBef>
                <a:spcAft>
                  <a:spcPct val="0"/>
                </a:spcAft>
                <a:buClr>
                  <a:srgbClr val="005C5D"/>
                </a:buClr>
              </a:pPr>
              <a:endParaRPr lang="de-DE" sz="1600" dirty="0">
                <a:solidFill>
                  <a:schemeClr val="bg1"/>
                </a:solidFill>
                <a:sym typeface="Wingdings" pitchFamily="2" charset="2"/>
              </a:endParaRPr>
            </a:p>
          </p:txBody>
        </p:sp>
        <p:sp>
          <p:nvSpPr>
            <p:cNvPr id="3" name="Textfeld 2"/>
            <p:cNvSpPr txBox="1"/>
            <p:nvPr>
              <p:custDataLst>
                <p:tags r:id="rId29"/>
              </p:custDataLst>
            </p:nvPr>
          </p:nvSpPr>
          <p:spPr>
            <a:xfrm>
              <a:off x="4794880" y="4972471"/>
              <a:ext cx="1368152" cy="153888"/>
            </a:xfrm>
            <a:prstGeom prst="rect">
              <a:avLst/>
            </a:prstGeom>
            <a:noFill/>
          </p:spPr>
          <p:txBody>
            <a:bodyPr vert="horz" wrap="square" lIns="0" tIns="0" rIns="0" bIns="0" rtlCol="0" anchor="t" anchorCtr="0">
              <a:spAutoFit/>
            </a:bodyPr>
            <a:lstStyle/>
            <a:p>
              <a:pPr>
                <a:spcBef>
                  <a:spcPts val="400"/>
                </a:spcBef>
              </a:pPr>
              <a:r>
                <a:rPr lang="de-DE" sz="1000" dirty="0" err="1">
                  <a:solidFill>
                    <a:schemeClr val="bg1"/>
                  </a:solidFill>
                </a:rPr>
                <a:t>Nuremberg</a:t>
              </a:r>
              <a:endParaRPr lang="de-DE" sz="1000" dirty="0">
                <a:solidFill>
                  <a:schemeClr val="bg1"/>
                </a:solidFill>
              </a:endParaRPr>
            </a:p>
          </p:txBody>
        </p:sp>
      </p:grpSp>
      <p:sp>
        <p:nvSpPr>
          <p:cNvPr id="62" name="Textfeld 61"/>
          <p:cNvSpPr txBox="1"/>
          <p:nvPr>
            <p:custDataLst>
              <p:tags r:id="rId3"/>
            </p:custDataLst>
          </p:nvPr>
        </p:nvSpPr>
        <p:spPr>
          <a:xfrm>
            <a:off x="5524772" y="3198579"/>
            <a:ext cx="1368152" cy="153888"/>
          </a:xfrm>
          <a:prstGeom prst="rect">
            <a:avLst/>
          </a:prstGeom>
          <a:noFill/>
        </p:spPr>
        <p:txBody>
          <a:bodyPr vert="horz" wrap="square" lIns="0" tIns="0" rIns="0" bIns="0" rtlCol="0" anchor="t" anchorCtr="0">
            <a:spAutoFit/>
          </a:bodyPr>
          <a:lstStyle/>
          <a:p>
            <a:pPr>
              <a:spcBef>
                <a:spcPts val="400"/>
              </a:spcBef>
            </a:pPr>
            <a:r>
              <a:rPr lang="de-DE" sz="1000" dirty="0">
                <a:solidFill>
                  <a:schemeClr val="bg1"/>
                </a:solidFill>
              </a:rPr>
              <a:t>Berlin</a:t>
            </a:r>
          </a:p>
        </p:txBody>
      </p:sp>
      <p:pic>
        <p:nvPicPr>
          <p:cNvPr id="313346" name="Picture 2"/>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752073" y="2398247"/>
            <a:ext cx="694891" cy="69489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3347" name="Picture 3"/>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4927465" y="5124823"/>
            <a:ext cx="691165" cy="691165"/>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3348" name="Picture 4"/>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3841082" y="4138766"/>
            <a:ext cx="689771" cy="689771"/>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feld 3"/>
          <p:cNvSpPr txBox="1"/>
          <p:nvPr/>
        </p:nvSpPr>
        <p:spPr>
          <a:xfrm>
            <a:off x="3670483" y="2828738"/>
            <a:ext cx="1063112" cy="230832"/>
          </a:xfrm>
          <a:prstGeom prst="rect">
            <a:avLst/>
          </a:prstGeom>
          <a:noFill/>
        </p:spPr>
        <p:txBody>
          <a:bodyPr wrap="none" rtlCol="0">
            <a:spAutoFit/>
          </a:bodyPr>
          <a:lstStyle/>
          <a:p>
            <a:r>
              <a:rPr lang="de-DE" sz="900" i="1" dirty="0">
                <a:solidFill>
                  <a:schemeClr val="bg1"/>
                </a:solidFill>
              </a:rPr>
              <a:t>Seema</a:t>
            </a:r>
            <a:r>
              <a:rPr lang="de-DE" sz="900" i="1" dirty="0"/>
              <a:t> </a:t>
            </a:r>
            <a:r>
              <a:rPr lang="de-DE" sz="900" i="1" dirty="0">
                <a:solidFill>
                  <a:schemeClr val="bg1"/>
                </a:solidFill>
              </a:rPr>
              <a:t>Bhardwaj</a:t>
            </a:r>
          </a:p>
        </p:txBody>
      </p:sp>
      <p:sp>
        <p:nvSpPr>
          <p:cNvPr id="68" name="Textfeld 67"/>
          <p:cNvSpPr txBox="1"/>
          <p:nvPr/>
        </p:nvSpPr>
        <p:spPr>
          <a:xfrm>
            <a:off x="2949797" y="4616163"/>
            <a:ext cx="928459" cy="230832"/>
          </a:xfrm>
          <a:prstGeom prst="rect">
            <a:avLst/>
          </a:prstGeom>
          <a:noFill/>
        </p:spPr>
        <p:txBody>
          <a:bodyPr wrap="none" rtlCol="0">
            <a:spAutoFit/>
          </a:bodyPr>
          <a:lstStyle/>
          <a:p>
            <a:r>
              <a:rPr lang="de-DE" sz="900" i="1" dirty="0">
                <a:solidFill>
                  <a:schemeClr val="bg1"/>
                </a:solidFill>
              </a:rPr>
              <a:t>Martin Wörlein</a:t>
            </a:r>
          </a:p>
        </p:txBody>
      </p:sp>
      <p:sp>
        <p:nvSpPr>
          <p:cNvPr id="69" name="Textfeld 68"/>
          <p:cNvSpPr txBox="1"/>
          <p:nvPr/>
        </p:nvSpPr>
        <p:spPr>
          <a:xfrm>
            <a:off x="3895516" y="5389367"/>
            <a:ext cx="1063112" cy="230832"/>
          </a:xfrm>
          <a:prstGeom prst="rect">
            <a:avLst/>
          </a:prstGeom>
          <a:noFill/>
        </p:spPr>
        <p:txBody>
          <a:bodyPr wrap="none" rtlCol="0">
            <a:spAutoFit/>
          </a:bodyPr>
          <a:lstStyle/>
          <a:p>
            <a:r>
              <a:rPr lang="de-DE" sz="900" i="1" dirty="0">
                <a:solidFill>
                  <a:schemeClr val="bg1"/>
                </a:solidFill>
              </a:rPr>
              <a:t>Tillmann Ruppert</a:t>
            </a:r>
          </a:p>
        </p:txBody>
      </p:sp>
      <p:pic>
        <p:nvPicPr>
          <p:cNvPr id="70" name="Picture 2"/>
          <p:cNvPicPr>
            <a:picLocks noChangeAspect="1" noChangeArrowheads="1"/>
          </p:cNvPicPr>
          <p:nvPr/>
        </p:nvPicPr>
        <p:blipFill>
          <a:blip r:embed="rId35">
            <a:duotone>
              <a:prstClr val="black"/>
              <a:schemeClr val="accent1">
                <a:tint val="45000"/>
                <a:satMod val="400000"/>
              </a:schemeClr>
            </a:duotone>
            <a:extLst>
              <a:ext uri="{BEBA8EAE-BF5A-486C-A8C5-ECC9F3942E4B}">
                <a14:imgProps xmlns:a14="http://schemas.microsoft.com/office/drawing/2010/main">
                  <a14:imgLayer r:embed="rId36">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201820" y="2366584"/>
            <a:ext cx="4320000" cy="2288115"/>
          </a:xfrm>
          <a:prstGeom prst="rect">
            <a:avLst/>
          </a:prstGeom>
          <a:noFill/>
          <a:ln>
            <a:noFill/>
          </a:ln>
          <a:effectLst/>
          <a:extLst/>
        </p:spPr>
      </p:pic>
      <p:sp>
        <p:nvSpPr>
          <p:cNvPr id="72" name="Textfeld 71"/>
          <p:cNvSpPr txBox="1"/>
          <p:nvPr/>
        </p:nvSpPr>
        <p:spPr>
          <a:xfrm>
            <a:off x="8724900" y="3014867"/>
            <a:ext cx="720080" cy="246221"/>
          </a:xfrm>
          <a:prstGeom prst="rect">
            <a:avLst/>
          </a:prstGeom>
          <a:noFill/>
        </p:spPr>
        <p:txBody>
          <a:bodyPr wrap="square" rtlCol="0">
            <a:spAutoFit/>
          </a:bodyPr>
          <a:lstStyle/>
          <a:p>
            <a:r>
              <a:rPr lang="en-GB" sz="1000" dirty="0">
                <a:solidFill>
                  <a:schemeClr val="bg1"/>
                </a:solidFill>
              </a:rPr>
              <a:t>Zurich</a:t>
            </a:r>
          </a:p>
        </p:txBody>
      </p:sp>
      <p:sp>
        <p:nvSpPr>
          <p:cNvPr id="74" name="Flussdiagramm: Verbindungsstelle 73"/>
          <p:cNvSpPr/>
          <p:nvPr/>
        </p:nvSpPr>
        <p:spPr>
          <a:xfrm>
            <a:off x="8732876" y="2860789"/>
            <a:ext cx="144000" cy="144000"/>
          </a:xfrm>
          <a:prstGeom prst="flowChartConnector">
            <a:avLst/>
          </a:prstGeom>
          <a:solidFill>
            <a:srgbClr val="005A4C"/>
          </a:solidFill>
          <a:ln w="9525" cap="flat" cmpd="sng" algn="ctr">
            <a:noFill/>
            <a:prstDash val="solid"/>
          </a:ln>
          <a:effectLst/>
        </p:spPr>
        <p:txBody>
          <a:bodyPr tIns="54000" bIns="54000" rtlCol="0" anchor="ctr"/>
          <a:lstStyle/>
          <a:p>
            <a:pPr algn="ctr">
              <a:defRPr/>
            </a:pPr>
            <a:endParaRPr lang="de-CH" sz="1400" kern="0" dirty="0" err="1">
              <a:ln>
                <a:solidFill>
                  <a:srgbClr val="005A4C"/>
                </a:solidFill>
              </a:ln>
              <a:solidFill>
                <a:srgbClr val="005A4C"/>
              </a:solidFill>
              <a:latin typeface="Arial"/>
            </a:endParaRPr>
          </a:p>
        </p:txBody>
      </p:sp>
      <p:sp>
        <p:nvSpPr>
          <p:cNvPr id="21505" name="Rechteck 21504"/>
          <p:cNvSpPr/>
          <p:nvPr/>
        </p:nvSpPr>
        <p:spPr>
          <a:xfrm>
            <a:off x="7613603" y="2611142"/>
            <a:ext cx="1095172" cy="230832"/>
          </a:xfrm>
          <a:prstGeom prst="rect">
            <a:avLst/>
          </a:prstGeom>
        </p:spPr>
        <p:txBody>
          <a:bodyPr wrap="none">
            <a:spAutoFit/>
          </a:bodyPr>
          <a:lstStyle/>
          <a:p>
            <a:r>
              <a:rPr lang="de-DE" sz="900" i="1" dirty="0">
                <a:solidFill>
                  <a:schemeClr val="bg1"/>
                </a:solidFill>
              </a:rPr>
              <a:t>Sebastian </a:t>
            </a:r>
            <a:r>
              <a:rPr lang="de-DE" sz="900" i="1" dirty="0" err="1">
                <a:solidFill>
                  <a:schemeClr val="bg1"/>
                </a:solidFill>
              </a:rPr>
              <a:t>Repetz</a:t>
            </a:r>
            <a:endParaRPr lang="de-DE" sz="900" i="1" dirty="0">
              <a:solidFill>
                <a:schemeClr val="bg1"/>
              </a:solidFill>
            </a:endParaRPr>
          </a:p>
        </p:txBody>
      </p:sp>
      <p:pic>
        <p:nvPicPr>
          <p:cNvPr id="5" name="Grafik 4"/>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7716838" y="1822957"/>
            <a:ext cx="756000" cy="756000"/>
          </a:xfrm>
          <a:prstGeom prst="rect">
            <a:avLst/>
          </a:prstGeom>
        </p:spPr>
      </p:pic>
    </p:spTree>
    <p:extLst>
      <p:ext uri="{BB962C8B-B14F-4D97-AF65-F5344CB8AC3E}">
        <p14:creationId xmlns:p14="http://schemas.microsoft.com/office/powerpoint/2010/main" val="25678021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2411"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64CCBB-0B1B-4B43-AF30-E254387C75FC}"/>
              </a:ext>
            </a:extLst>
          </p:cNvPr>
          <p:cNvSpPr>
            <a:spLocks noGrp="1"/>
          </p:cNvSpPr>
          <p:nvPr>
            <p:ph type="title"/>
          </p:nvPr>
        </p:nvSpPr>
        <p:spPr/>
        <p:txBody>
          <a:bodyPr/>
          <a:lstStyle/>
          <a:p>
            <a:r>
              <a:rPr lang="de-DE" dirty="0"/>
              <a:t>„</a:t>
            </a:r>
            <a:r>
              <a:rPr lang="de-DE" dirty="0" err="1"/>
              <a:t>Ease</a:t>
            </a:r>
            <a:r>
              <a:rPr lang="de-DE" dirty="0"/>
              <a:t> </a:t>
            </a:r>
            <a:r>
              <a:rPr lang="de-DE" dirty="0" err="1"/>
              <a:t>of</a:t>
            </a:r>
            <a:r>
              <a:rPr lang="de-DE" dirty="0"/>
              <a:t> </a:t>
            </a:r>
            <a:r>
              <a:rPr lang="de-DE" dirty="0" err="1"/>
              <a:t>Doing</a:t>
            </a:r>
            <a:r>
              <a:rPr lang="de-DE" dirty="0"/>
              <a:t> Business in </a:t>
            </a:r>
            <a:r>
              <a:rPr lang="de-DE" dirty="0" err="1"/>
              <a:t>India</a:t>
            </a:r>
            <a:r>
              <a:rPr lang="de-DE" dirty="0"/>
              <a:t>“ Index </a:t>
            </a:r>
            <a:r>
              <a:rPr lang="de-DE" dirty="0" err="1"/>
              <a:t>WorldBank</a:t>
            </a:r>
            <a:r>
              <a:rPr lang="de-DE" dirty="0"/>
              <a:t> </a:t>
            </a:r>
            <a:endParaRPr lang="de-DE" dirty="0">
              <a:sym typeface="Arial" panose="020B0604020202020204" pitchFamily="34" charset="0"/>
            </a:endParaRPr>
          </a:p>
        </p:txBody>
      </p:sp>
      <p:sp>
        <p:nvSpPr>
          <p:cNvPr id="7" name="Foliennummernplatzhalter 6"/>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de-DE"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5" name="Grafik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09723" y="1060765"/>
            <a:ext cx="11455575" cy="5797235"/>
          </a:xfrm>
          <a:prstGeom prst="rect">
            <a:avLst/>
          </a:prstGeom>
        </p:spPr>
      </p:pic>
      <p:sp>
        <p:nvSpPr>
          <p:cNvPr id="12" name="Ellipse 11"/>
          <p:cNvSpPr/>
          <p:nvPr/>
        </p:nvSpPr>
        <p:spPr>
          <a:xfrm>
            <a:off x="985921" y="2026214"/>
            <a:ext cx="1546119" cy="420673"/>
          </a:xfrm>
          <a:prstGeom prst="ellipse">
            <a:avLst/>
          </a:prstGeom>
          <a:solidFill>
            <a:schemeClr val="tx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marR="0" lvl="0" indent="-216000" algn="l" defTabSz="914400" rtl="0" eaLnBrk="1" fontAlgn="auto" latinLnBrk="0" hangingPunct="1">
              <a:lnSpc>
                <a:spcPct val="100000"/>
              </a:lnSpc>
              <a:spcBef>
                <a:spcPts val="0"/>
              </a:spcBef>
              <a:spcAft>
                <a:spcPts val="0"/>
              </a:spcAft>
              <a:buClrTx/>
              <a:buSzTx/>
              <a:buFontTx/>
              <a:buChar char="–"/>
              <a:tabLst/>
              <a:defRPr/>
            </a:pPr>
            <a:endParaRPr kumimoji="0" lang="de-DE" sz="16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7" name="Ellipse 16"/>
          <p:cNvSpPr/>
          <p:nvPr/>
        </p:nvSpPr>
        <p:spPr>
          <a:xfrm>
            <a:off x="3999911" y="1587257"/>
            <a:ext cx="535969" cy="480149"/>
          </a:xfrm>
          <a:prstGeom prst="ellipse">
            <a:avLst/>
          </a:prstGeom>
          <a:solidFill>
            <a:schemeClr val="tx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marR="0" lvl="0" indent="-216000" algn="l" defTabSz="914400" rtl="0" eaLnBrk="1" fontAlgn="auto" latinLnBrk="0" hangingPunct="1">
              <a:lnSpc>
                <a:spcPct val="100000"/>
              </a:lnSpc>
              <a:spcBef>
                <a:spcPts val="0"/>
              </a:spcBef>
              <a:spcAft>
                <a:spcPts val="0"/>
              </a:spcAft>
              <a:buClrTx/>
              <a:buSzTx/>
              <a:buFontTx/>
              <a:buChar char="–"/>
              <a:tabLst/>
              <a:defRPr/>
            </a:pPr>
            <a:endParaRPr kumimoji="0" lang="de-DE" sz="16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5" name="Ellipse 14"/>
          <p:cNvSpPr/>
          <p:nvPr/>
        </p:nvSpPr>
        <p:spPr>
          <a:xfrm>
            <a:off x="985921" y="3227958"/>
            <a:ext cx="1546119" cy="420673"/>
          </a:xfrm>
          <a:prstGeom prst="ellipse">
            <a:avLst/>
          </a:prstGeom>
          <a:solidFill>
            <a:schemeClr val="tx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marR="0" lvl="0" indent="-216000" algn="l" defTabSz="914400" rtl="0" eaLnBrk="1" fontAlgn="auto" latinLnBrk="0" hangingPunct="1">
              <a:lnSpc>
                <a:spcPct val="100000"/>
              </a:lnSpc>
              <a:spcBef>
                <a:spcPts val="0"/>
              </a:spcBef>
              <a:spcAft>
                <a:spcPts val="0"/>
              </a:spcAft>
              <a:buClrTx/>
              <a:buSzTx/>
              <a:buFontTx/>
              <a:buChar char="–"/>
              <a:tabLst/>
              <a:defRPr/>
            </a:pPr>
            <a:endParaRPr kumimoji="0" lang="de-DE" sz="16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6" name="Ellipse 15"/>
          <p:cNvSpPr/>
          <p:nvPr/>
        </p:nvSpPr>
        <p:spPr>
          <a:xfrm>
            <a:off x="980416" y="4460530"/>
            <a:ext cx="1546119" cy="420673"/>
          </a:xfrm>
          <a:prstGeom prst="ellipse">
            <a:avLst/>
          </a:prstGeom>
          <a:solidFill>
            <a:schemeClr val="tx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marR="0" lvl="0" indent="-216000" algn="l" defTabSz="914400" rtl="0" eaLnBrk="1" fontAlgn="auto" latinLnBrk="0" hangingPunct="1">
              <a:lnSpc>
                <a:spcPct val="100000"/>
              </a:lnSpc>
              <a:spcBef>
                <a:spcPts val="0"/>
              </a:spcBef>
              <a:spcAft>
                <a:spcPts val="0"/>
              </a:spcAft>
              <a:buClrTx/>
              <a:buSzTx/>
              <a:buFontTx/>
              <a:buChar char="–"/>
              <a:tabLst/>
              <a:defRPr/>
            </a:pPr>
            <a:endParaRPr kumimoji="0" lang="de-DE" sz="16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8" name="Ellipse 17"/>
          <p:cNvSpPr/>
          <p:nvPr/>
        </p:nvSpPr>
        <p:spPr>
          <a:xfrm>
            <a:off x="985921" y="4870316"/>
            <a:ext cx="1546119" cy="420673"/>
          </a:xfrm>
          <a:prstGeom prst="ellipse">
            <a:avLst/>
          </a:prstGeom>
          <a:solidFill>
            <a:schemeClr val="tx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marR="0" lvl="0" indent="-216000" algn="l" defTabSz="914400" rtl="0" eaLnBrk="1" fontAlgn="auto" latinLnBrk="0" hangingPunct="1">
              <a:lnSpc>
                <a:spcPct val="100000"/>
              </a:lnSpc>
              <a:spcBef>
                <a:spcPts val="0"/>
              </a:spcBef>
              <a:spcAft>
                <a:spcPts val="0"/>
              </a:spcAft>
              <a:buClrTx/>
              <a:buSzTx/>
              <a:buFontTx/>
              <a:buChar char="–"/>
              <a:tabLst/>
              <a:defRPr/>
            </a:pPr>
            <a:endParaRPr kumimoji="0" lang="de-DE" sz="16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19" name="Ellipse 18"/>
          <p:cNvSpPr/>
          <p:nvPr/>
        </p:nvSpPr>
        <p:spPr>
          <a:xfrm>
            <a:off x="980416" y="5280436"/>
            <a:ext cx="1546119" cy="420673"/>
          </a:xfrm>
          <a:prstGeom prst="ellipse">
            <a:avLst/>
          </a:prstGeom>
          <a:solidFill>
            <a:schemeClr val="tx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marR="0" lvl="0" indent="-216000" algn="l" defTabSz="914400" rtl="0" eaLnBrk="1" fontAlgn="auto" latinLnBrk="0" hangingPunct="1">
              <a:lnSpc>
                <a:spcPct val="100000"/>
              </a:lnSpc>
              <a:spcBef>
                <a:spcPts val="0"/>
              </a:spcBef>
              <a:spcAft>
                <a:spcPts val="0"/>
              </a:spcAft>
              <a:buClrTx/>
              <a:buSzTx/>
              <a:buFontTx/>
              <a:buChar char="–"/>
              <a:tabLst/>
              <a:defRPr/>
            </a:pPr>
            <a:endParaRPr kumimoji="0" lang="de-DE" sz="16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20" name="Ellipse 19"/>
          <p:cNvSpPr/>
          <p:nvPr/>
        </p:nvSpPr>
        <p:spPr>
          <a:xfrm>
            <a:off x="974911" y="5686658"/>
            <a:ext cx="1546119" cy="420673"/>
          </a:xfrm>
          <a:prstGeom prst="ellipse">
            <a:avLst/>
          </a:prstGeom>
          <a:solidFill>
            <a:schemeClr val="tx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marR="0" lvl="0" indent="-216000" algn="l" defTabSz="914400" rtl="0" eaLnBrk="1" fontAlgn="auto" latinLnBrk="0" hangingPunct="1">
              <a:lnSpc>
                <a:spcPct val="100000"/>
              </a:lnSpc>
              <a:spcBef>
                <a:spcPts val="0"/>
              </a:spcBef>
              <a:spcAft>
                <a:spcPts val="0"/>
              </a:spcAft>
              <a:buClrTx/>
              <a:buSzTx/>
              <a:buFontTx/>
              <a:buChar char="–"/>
              <a:tabLst/>
              <a:defRPr/>
            </a:pPr>
            <a:endParaRPr kumimoji="0" lang="de-DE" sz="16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9" name="Rechteck 8"/>
          <p:cNvSpPr/>
          <p:nvPr/>
        </p:nvSpPr>
        <p:spPr>
          <a:xfrm>
            <a:off x="5832648" y="6517093"/>
            <a:ext cx="6096000" cy="276999"/>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dirty="0">
                <a:ln>
                  <a:noFill/>
                </a:ln>
                <a:solidFill>
                  <a:prstClr val="black"/>
                </a:solidFill>
                <a:effectLst/>
                <a:uLnTx/>
                <a:uFillTx/>
                <a:latin typeface="Arial"/>
                <a:ea typeface="+mn-ea"/>
                <a:cs typeface="+mn-cs"/>
                <a:hlinkClick r:id="rId8"/>
              </a:rPr>
              <a:t>https://www.doingbusiness.org/en/data/exploreeconomies/india#</a:t>
            </a:r>
            <a:r>
              <a:rPr kumimoji="0" lang="de-DE" sz="1200" b="0" i="1" u="none" strike="noStrike" kern="1200" cap="none" spc="0" normalizeH="0" baseline="0" noProof="0" dirty="0">
                <a:ln>
                  <a:noFill/>
                </a:ln>
                <a:solidFill>
                  <a:prstClr val="black"/>
                </a:solidFill>
                <a:effectLst/>
                <a:uLnTx/>
                <a:uFillTx/>
                <a:latin typeface="Arial"/>
                <a:ea typeface="+mn-ea"/>
                <a:cs typeface="+mn-cs"/>
              </a:rPr>
              <a:t> / abgerufen 25.10.19</a:t>
            </a:r>
          </a:p>
        </p:txBody>
      </p:sp>
    </p:spTree>
    <p:extLst>
      <p:ext uri="{BB962C8B-B14F-4D97-AF65-F5344CB8AC3E}">
        <p14:creationId xmlns:p14="http://schemas.microsoft.com/office/powerpoint/2010/main" val="3052053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500"/>
                                        <p:tgtEl>
                                          <p:spTgt spid="1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animEffect transition="in" filter="fade">
                                      <p:cBhvr>
                                        <p:cTn id="27" dur="500"/>
                                        <p:tgtEl>
                                          <p:spTgt spid="2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6"/>
                                        </p:tgtEl>
                                        <p:attrNameLst>
                                          <p:attrName>style.visibility</p:attrName>
                                        </p:attrNameLst>
                                      </p:cBhvr>
                                      <p:to>
                                        <p:strVal val="visible"/>
                                      </p:to>
                                    </p:set>
                                    <p:animEffect transition="in" filter="fade">
                                      <p:cBhvr>
                                        <p:cTn id="32" dur="500"/>
                                        <p:tgtEl>
                                          <p:spTgt spid="16"/>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7" grpId="0" animBg="1"/>
      <p:bldP spid="15" grpId="0" animBg="1"/>
      <p:bldP spid="16" grpId="0" animBg="1"/>
      <p:bldP spid="18" grpId="0" animBg="1"/>
      <p:bldP spid="19" grpId="0" animBg="1"/>
      <p:bldP spid="2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elle 28">
            <a:extLst>
              <a:ext uri="{FF2B5EF4-FFF2-40B4-BE49-F238E27FC236}">
                <a16:creationId xmlns:a16="http://schemas.microsoft.com/office/drawing/2014/main" id="{19539B79-FD6A-DB4C-98A4-CD7C555C03BF}"/>
              </a:ext>
            </a:extLst>
          </p:cNvPr>
          <p:cNvGraphicFramePr>
            <a:graphicFrameLocks noGrp="1"/>
          </p:cNvGraphicFramePr>
          <p:nvPr>
            <p:extLst/>
          </p:nvPr>
        </p:nvGraphicFramePr>
        <p:xfrm>
          <a:off x="3178" y="905041"/>
          <a:ext cx="12057145" cy="5924384"/>
        </p:xfrm>
        <a:graphic>
          <a:graphicData uri="http://schemas.openxmlformats.org/drawingml/2006/table">
            <a:tbl>
              <a:tblPr firstRow="1" bandRow="1">
                <a:tableStyleId>{5C22544A-7EE6-4342-B048-85BDC9FD1C3A}</a:tableStyleId>
              </a:tblPr>
              <a:tblGrid>
                <a:gridCol w="2411429">
                  <a:extLst>
                    <a:ext uri="{9D8B030D-6E8A-4147-A177-3AD203B41FA5}">
                      <a16:colId xmlns:a16="http://schemas.microsoft.com/office/drawing/2014/main" val="20000"/>
                    </a:ext>
                  </a:extLst>
                </a:gridCol>
                <a:gridCol w="2411429">
                  <a:extLst>
                    <a:ext uri="{9D8B030D-6E8A-4147-A177-3AD203B41FA5}">
                      <a16:colId xmlns:a16="http://schemas.microsoft.com/office/drawing/2014/main" val="20001"/>
                    </a:ext>
                  </a:extLst>
                </a:gridCol>
                <a:gridCol w="2411429">
                  <a:extLst>
                    <a:ext uri="{9D8B030D-6E8A-4147-A177-3AD203B41FA5}">
                      <a16:colId xmlns:a16="http://schemas.microsoft.com/office/drawing/2014/main" val="20002"/>
                    </a:ext>
                  </a:extLst>
                </a:gridCol>
                <a:gridCol w="2411429">
                  <a:extLst>
                    <a:ext uri="{9D8B030D-6E8A-4147-A177-3AD203B41FA5}">
                      <a16:colId xmlns:a16="http://schemas.microsoft.com/office/drawing/2014/main" val="20003"/>
                    </a:ext>
                  </a:extLst>
                </a:gridCol>
                <a:gridCol w="2411429">
                  <a:extLst>
                    <a:ext uri="{9D8B030D-6E8A-4147-A177-3AD203B41FA5}">
                      <a16:colId xmlns:a16="http://schemas.microsoft.com/office/drawing/2014/main" val="20004"/>
                    </a:ext>
                  </a:extLst>
                </a:gridCol>
              </a:tblGrid>
              <a:tr h="5924384">
                <a:tc>
                  <a:txBody>
                    <a:bodyPr/>
                    <a:lstStyle/>
                    <a:p>
                      <a:pPr>
                        <a:lnSpc>
                          <a:spcPct val="100000"/>
                        </a:lnSpc>
                        <a:spcAft>
                          <a:spcPts val="600"/>
                        </a:spcAft>
                      </a:pPr>
                      <a:endParaRPr lang="de-DE" sz="2000" b="0" dirty="0">
                        <a:solidFill>
                          <a:schemeClr val="accent1"/>
                        </a:solidFill>
                        <a:latin typeface="Arial" panose="020B0604020202020204" pitchFamily="34" charset="0"/>
                        <a:cs typeface="Arial" panose="020B0604020202020204" pitchFamily="34" charset="0"/>
                        <a:sym typeface="Arial" panose="020B0604020202020204" pitchFamily="34" charset="0"/>
                      </a:endParaRPr>
                    </a:p>
                  </a:txBody>
                  <a:tcPr marL="180000" marT="108000" marB="108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600"/>
                        </a:spcAft>
                      </a:pPr>
                      <a:endParaRPr lang="de-DE" sz="2000" b="0" dirty="0">
                        <a:solidFill>
                          <a:schemeClr val="accent1"/>
                        </a:solidFill>
                        <a:latin typeface="Arial" panose="020B0604020202020204" pitchFamily="34" charset="0"/>
                        <a:cs typeface="Arial" panose="020B0604020202020204" pitchFamily="34" charset="0"/>
                        <a:sym typeface="Arial" panose="020B0604020202020204" pitchFamily="34" charset="0"/>
                      </a:endParaRPr>
                    </a:p>
                  </a:txBody>
                  <a:tcPr marL="180000" marT="108000" marB="108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600"/>
                        </a:spcAft>
                      </a:pPr>
                      <a:endParaRPr lang="de-DE" sz="2000" b="0" dirty="0">
                        <a:solidFill>
                          <a:schemeClr val="accent1"/>
                        </a:solidFill>
                        <a:latin typeface="Arial" panose="020B0604020202020204" pitchFamily="34" charset="0"/>
                        <a:cs typeface="Arial" panose="020B0604020202020204" pitchFamily="34" charset="0"/>
                        <a:sym typeface="Arial" panose="020B0604020202020204" pitchFamily="34" charset="0"/>
                      </a:endParaRPr>
                    </a:p>
                  </a:txBody>
                  <a:tcPr marL="180000" marT="108000" marB="108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600"/>
                        </a:spcAft>
                      </a:pPr>
                      <a:endParaRPr lang="de-DE" sz="2000" b="0" dirty="0">
                        <a:solidFill>
                          <a:schemeClr val="accent1"/>
                        </a:solidFill>
                        <a:latin typeface="Arial" panose="020B0604020202020204" pitchFamily="34" charset="0"/>
                        <a:cs typeface="Arial" panose="020B0604020202020204" pitchFamily="34" charset="0"/>
                        <a:sym typeface="Arial" panose="020B0604020202020204" pitchFamily="34" charset="0"/>
                      </a:endParaRPr>
                    </a:p>
                  </a:txBody>
                  <a:tcPr marL="180000" marT="108000" marB="108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600"/>
                        </a:spcAft>
                      </a:pPr>
                      <a:endParaRPr lang="de-DE" sz="2000" b="0" dirty="0">
                        <a:solidFill>
                          <a:schemeClr val="accent1"/>
                        </a:solidFill>
                        <a:latin typeface="Arial" panose="020B0604020202020204" pitchFamily="34" charset="0"/>
                        <a:cs typeface="Arial" panose="020B0604020202020204" pitchFamily="34" charset="0"/>
                        <a:sym typeface="Arial" panose="020B0604020202020204" pitchFamily="34" charset="0"/>
                      </a:endParaRPr>
                    </a:p>
                  </a:txBody>
                  <a:tcPr marL="180000" marT="108000" marB="10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Objek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3445"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64CCBB-0B1B-4B43-AF30-E254387C75FC}"/>
              </a:ext>
            </a:extLst>
          </p:cNvPr>
          <p:cNvSpPr>
            <a:spLocks noGrp="1"/>
          </p:cNvSpPr>
          <p:nvPr>
            <p:ph type="title"/>
          </p:nvPr>
        </p:nvSpPr>
        <p:spPr/>
        <p:txBody>
          <a:bodyPr/>
          <a:lstStyle/>
          <a:p>
            <a:r>
              <a:rPr lang="de-DE" dirty="0" err="1"/>
              <a:t>CoMMENTS</a:t>
            </a:r>
            <a:r>
              <a:rPr lang="de-DE" dirty="0"/>
              <a:t> </a:t>
            </a:r>
            <a:endParaRPr lang="de-DE" dirty="0">
              <a:sym typeface="Arial" panose="020B0604020202020204" pitchFamily="34" charset="0"/>
            </a:endParaRPr>
          </a:p>
        </p:txBody>
      </p:sp>
      <p:sp>
        <p:nvSpPr>
          <p:cNvPr id="7" name="Foliennummernplatzhalter 6"/>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de-DE"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35" name="Grafik 1">
            <a:extLst>
              <a:ext uri="{FF2B5EF4-FFF2-40B4-BE49-F238E27FC236}">
                <a16:creationId xmlns:a16="http://schemas.microsoft.com/office/drawing/2014/main" id="{3AF5C173-FB19-394F-84C9-835E69D72C96}"/>
              </a:ext>
            </a:extLst>
          </p:cNvPr>
          <p:cNvPicPr>
            <a:picLocks noChangeAspect="1"/>
          </p:cNvPicPr>
          <p:nvPr/>
        </p:nvPicPr>
        <p:blipFill rotWithShape="1">
          <a:blip r:embed="rId7">
            <a:extLst>
              <a:ext uri="{28A0092B-C50C-407E-A947-70E740481C1C}">
                <a14:useLocalDpi xmlns:a14="http://schemas.microsoft.com/office/drawing/2010/main" val="0"/>
              </a:ext>
            </a:extLst>
          </a:blip>
          <a:srcRect l="35901" t="16800" r="43559" b="18079"/>
          <a:stretch/>
        </p:blipFill>
        <p:spPr bwMode="gray">
          <a:xfrm>
            <a:off x="9623715" y="2600355"/>
            <a:ext cx="2299732" cy="4259508"/>
          </a:xfrm>
          <a:prstGeom prst="rect">
            <a:avLst/>
          </a:prstGeom>
        </p:spPr>
      </p:pic>
      <p:sp>
        <p:nvSpPr>
          <p:cNvPr id="37" name="Rechteck 36">
            <a:extLst>
              <a:ext uri="{FF2B5EF4-FFF2-40B4-BE49-F238E27FC236}">
                <a16:creationId xmlns:a16="http://schemas.microsoft.com/office/drawing/2014/main" id="{60DAF54E-AFD7-4449-85BD-6C7878856BCA}"/>
              </a:ext>
            </a:extLst>
          </p:cNvPr>
          <p:cNvSpPr/>
          <p:nvPr/>
        </p:nvSpPr>
        <p:spPr bwMode="gray">
          <a:xfrm>
            <a:off x="7317730" y="2078182"/>
            <a:ext cx="2196685" cy="4498382"/>
          </a:xfrm>
          <a:prstGeom prst="rect">
            <a:avLst/>
          </a:prstGeom>
        </p:spPr>
        <p:txBody>
          <a:bodyPr wrap="square" lIns="0" tIns="0" rIns="0" bIns="0">
            <a:noAutofit/>
          </a:bodyPr>
          <a:lstStyle/>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Legally</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defined</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timeline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for</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completion</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of</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th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resolution</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process</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Lower</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hreshold</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o</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initiate</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he</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process</a:t>
            </a:r>
            <a:endPar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Electronic</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Information</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system</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abou</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th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companie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in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insolvency</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proces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Continuing</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lang="de-DE" sz="1400" noProof="0" dirty="0" err="1">
                <a:solidFill>
                  <a:prstClr val="black"/>
                </a:solidFill>
                <a:latin typeface="Arial" panose="020B0604020202020204" pitchFamily="34" charset="0"/>
                <a:cs typeface="Arial" panose="020B0604020202020204" pitchFamily="34" charset="0"/>
                <a:sym typeface="Arial" panose="020B0604020202020204" pitchFamily="34" charset="0"/>
              </a:rPr>
              <a:t>lega</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l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processe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nd</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further</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developments</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
                <a:srgbClr val="00A990"/>
              </a:buClr>
              <a:buSzTx/>
              <a:buFontTx/>
              <a:buNone/>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9" name="Rechteck 38">
            <a:extLst>
              <a:ext uri="{FF2B5EF4-FFF2-40B4-BE49-F238E27FC236}">
                <a16:creationId xmlns:a16="http://schemas.microsoft.com/office/drawing/2014/main" id="{60DAF54E-AFD7-4449-85BD-6C7878856BCA}"/>
              </a:ext>
            </a:extLst>
          </p:cNvPr>
          <p:cNvSpPr/>
          <p:nvPr/>
        </p:nvSpPr>
        <p:spPr bwMode="gray">
          <a:xfrm>
            <a:off x="9707864" y="2069437"/>
            <a:ext cx="2089110" cy="4498382"/>
          </a:xfrm>
          <a:prstGeom prst="rect">
            <a:avLst/>
          </a:prstGeom>
        </p:spPr>
        <p:txBody>
          <a:bodyPr wrap="square" lIns="0" tIns="0" rIns="0" bIns="0">
            <a:noAutofit/>
          </a:bodyPr>
          <a:lstStyle/>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Sta</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ndardization</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nd</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streamlining</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of</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labor</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law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nd</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regulations</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Codification</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in 4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categorie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Industrial Relations,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Wages</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Safety</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Social</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Security)</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Introduction</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Model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law</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s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nd</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regulations</a:t>
            </a:r>
            <a:b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b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Shop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Establishment Act)</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Ease</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Compliance (Portal, LIN)</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
                <a:srgbClr val="00A990"/>
              </a:buClr>
              <a:buSzTx/>
              <a:buFontTx/>
              <a:buNone/>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0" name="Rechteck 39">
            <a:extLst>
              <a:ext uri="{FF2B5EF4-FFF2-40B4-BE49-F238E27FC236}">
                <a16:creationId xmlns:a16="http://schemas.microsoft.com/office/drawing/2014/main" id="{60DAF54E-AFD7-4449-85BD-6C7878856BCA}"/>
              </a:ext>
            </a:extLst>
          </p:cNvPr>
          <p:cNvSpPr/>
          <p:nvPr/>
        </p:nvSpPr>
        <p:spPr bwMode="gray">
          <a:xfrm>
            <a:off x="317456" y="2069437"/>
            <a:ext cx="1866237" cy="4907254"/>
          </a:xfrm>
          <a:prstGeom prst="rect">
            <a:avLst/>
          </a:prstGeom>
        </p:spPr>
        <p:txBody>
          <a:bodyPr wrap="square" lIns="0" tIns="0" rIns="0" bIns="0">
            <a:noAutofit/>
          </a:bodyPr>
          <a:lstStyle/>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Centralis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d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nd</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digital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process</a:t>
            </a:r>
            <a:endParaRPr lang="de-DE" sz="1400" dirty="0">
              <a:solidFill>
                <a:prstClr val="black"/>
              </a:solidFill>
              <a:latin typeface="Arial" panose="020B0604020202020204" pitchFamily="34" charset="0"/>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Fas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company</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formation</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Required</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tax</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registration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r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don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now</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parallel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with</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the</a:t>
            </a:r>
            <a:r>
              <a:rPr lang="de-DE" sz="1400" noProof="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noProof="0" dirty="0" err="1">
                <a:solidFill>
                  <a:prstClr val="black"/>
                </a:solidFill>
                <a:latin typeface="Arial" panose="020B0604020202020204" pitchFamily="34" charset="0"/>
                <a:cs typeface="Arial" panose="020B0604020202020204" pitchFamily="34" charset="0"/>
                <a:sym typeface="Arial" panose="020B0604020202020204" pitchFamily="34" charset="0"/>
              </a:rPr>
              <a:t>incorporation</a:t>
            </a:r>
            <a:r>
              <a:rPr lang="de-DE" sz="1400" noProof="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noProof="0" dirty="0" err="1">
                <a:solidFill>
                  <a:prstClr val="black"/>
                </a:solidFill>
                <a:latin typeface="Arial" panose="020B0604020202020204" pitchFamily="34" charset="0"/>
                <a:cs typeface="Arial" panose="020B0604020202020204" pitchFamily="34" charset="0"/>
                <a:sym typeface="Arial" panose="020B0604020202020204" pitchFamily="34" charset="0"/>
              </a:rPr>
              <a:t>process</a:t>
            </a:r>
            <a:endParaRPr lang="de-DE" sz="1400" noProof="0" dirty="0">
              <a:solidFill>
                <a:prstClr val="black"/>
              </a:solidFill>
              <a:latin typeface="Arial" panose="020B0604020202020204" pitchFamily="34" charset="0"/>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Slow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proces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for</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th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foreign</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companies</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Practical</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Problems </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Opening</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bank</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ccount</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1" name="Rechteck 40">
            <a:extLst>
              <a:ext uri="{FF2B5EF4-FFF2-40B4-BE49-F238E27FC236}">
                <a16:creationId xmlns:a16="http://schemas.microsoft.com/office/drawing/2014/main" id="{B850DD4F-D81C-9E44-866C-E22F5B3E351F}"/>
              </a:ext>
            </a:extLst>
          </p:cNvPr>
          <p:cNvSpPr/>
          <p:nvPr/>
        </p:nvSpPr>
        <p:spPr bwMode="gray">
          <a:xfrm>
            <a:off x="2492199" y="1196752"/>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e-DE" sz="28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2" name="Rechteck 41">
            <a:extLst>
              <a:ext uri="{FF2B5EF4-FFF2-40B4-BE49-F238E27FC236}">
                <a16:creationId xmlns:a16="http://schemas.microsoft.com/office/drawing/2014/main" id="{A0D3E989-E9F6-D044-B600-D5BA3D4BF9B7}"/>
              </a:ext>
            </a:extLst>
          </p:cNvPr>
          <p:cNvSpPr/>
          <p:nvPr/>
        </p:nvSpPr>
        <p:spPr bwMode="gray">
          <a:xfrm>
            <a:off x="346846" y="1217278"/>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SETTING</a:t>
            </a:r>
            <a:r>
              <a:rPr kumimoji="0" lang="en-US" sz="2000" b="0" i="0" u="none" strike="noStrike" kern="1200" cap="all"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Up </a:t>
            </a:r>
            <a:endPar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5" name="Rechteck 44">
            <a:extLst>
              <a:ext uri="{FF2B5EF4-FFF2-40B4-BE49-F238E27FC236}">
                <a16:creationId xmlns:a16="http://schemas.microsoft.com/office/drawing/2014/main" id="{60DAF54E-AFD7-4449-85BD-6C7878856BCA}"/>
              </a:ext>
            </a:extLst>
          </p:cNvPr>
          <p:cNvSpPr/>
          <p:nvPr/>
        </p:nvSpPr>
        <p:spPr bwMode="gray">
          <a:xfrm>
            <a:off x="2520221" y="2085211"/>
            <a:ext cx="2163554" cy="4907254"/>
          </a:xfrm>
          <a:prstGeom prst="rect">
            <a:avLst/>
          </a:prstGeom>
        </p:spPr>
        <p:txBody>
          <a:bodyPr wrap="square" lIns="0" tIns="0" rIns="0" bIns="0">
            <a:noAutofit/>
          </a:bodyPr>
          <a:lstStyle/>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Corporate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Governance</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und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ransparency</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Paradigm</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shift</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Digital</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Processes</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nd</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Linking</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DIR 3 KYC, SBO, SMF &amp; EMF, MSE Reporting, INC 22, FLA Returns)</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ransposition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related</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problems</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ECB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list</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of</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eligible</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1"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lenders</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expand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d </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lso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he</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list</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eligible</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BORROWERS </a:t>
            </a:r>
            <a:r>
              <a:rPr kumimoji="0" lang="de-DE" sz="1400" i="0" u="none" strike="noStrike" kern="1200" cap="none" spc="0" normalizeH="0" noProof="0" dirty="0" err="1">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wide</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ned</a:t>
            </a:r>
            <a:r>
              <a:rPr kumimoji="0" lang="de-DE" sz="140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t> </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sales</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servic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s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companie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nd</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End</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use</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restrictions</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liberalized</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buyin</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g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land</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6" name="Rechteck 45">
            <a:extLst>
              <a:ext uri="{FF2B5EF4-FFF2-40B4-BE49-F238E27FC236}">
                <a16:creationId xmlns:a16="http://schemas.microsoft.com/office/drawing/2014/main" id="{A0D3E989-E9F6-D044-B600-D5BA3D4BF9B7}"/>
              </a:ext>
            </a:extLst>
          </p:cNvPr>
          <p:cNvSpPr/>
          <p:nvPr/>
        </p:nvSpPr>
        <p:spPr bwMode="gray">
          <a:xfrm>
            <a:off x="2528257" y="1200345"/>
            <a:ext cx="2232890" cy="1041360"/>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Corporat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GOVERNAC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p:txBody>
      </p:sp>
      <p:sp>
        <p:nvSpPr>
          <p:cNvPr id="47" name="Rechteck 46">
            <a:extLst>
              <a:ext uri="{FF2B5EF4-FFF2-40B4-BE49-F238E27FC236}">
                <a16:creationId xmlns:a16="http://schemas.microsoft.com/office/drawing/2014/main" id="{B850DD4F-D81C-9E44-866C-E22F5B3E351F}"/>
              </a:ext>
            </a:extLst>
          </p:cNvPr>
          <p:cNvSpPr/>
          <p:nvPr/>
        </p:nvSpPr>
        <p:spPr bwMode="gray">
          <a:xfrm>
            <a:off x="4912838" y="1185355"/>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e-DE" sz="28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8" name="Rechteck 47">
            <a:extLst>
              <a:ext uri="{FF2B5EF4-FFF2-40B4-BE49-F238E27FC236}">
                <a16:creationId xmlns:a16="http://schemas.microsoft.com/office/drawing/2014/main" id="{B850DD4F-D81C-9E44-866C-E22F5B3E351F}"/>
              </a:ext>
            </a:extLst>
          </p:cNvPr>
          <p:cNvSpPr/>
          <p:nvPr/>
        </p:nvSpPr>
        <p:spPr bwMode="gray">
          <a:xfrm>
            <a:off x="4897906" y="1185355"/>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e-DE" sz="28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9" name="Rechteck 48">
            <a:extLst>
              <a:ext uri="{FF2B5EF4-FFF2-40B4-BE49-F238E27FC236}">
                <a16:creationId xmlns:a16="http://schemas.microsoft.com/office/drawing/2014/main" id="{A0D3E989-E9F6-D044-B600-D5BA3D4BF9B7}"/>
              </a:ext>
            </a:extLst>
          </p:cNvPr>
          <p:cNvSpPr/>
          <p:nvPr/>
        </p:nvSpPr>
        <p:spPr bwMode="gray">
          <a:xfrm>
            <a:off x="4958713" y="1196752"/>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p:txBody>
      </p:sp>
      <p:sp>
        <p:nvSpPr>
          <p:cNvPr id="50" name="Rechteck 49">
            <a:extLst>
              <a:ext uri="{FF2B5EF4-FFF2-40B4-BE49-F238E27FC236}">
                <a16:creationId xmlns:a16="http://schemas.microsoft.com/office/drawing/2014/main" id="{B850DD4F-D81C-9E44-866C-E22F5B3E351F}"/>
              </a:ext>
            </a:extLst>
          </p:cNvPr>
          <p:cNvSpPr/>
          <p:nvPr/>
        </p:nvSpPr>
        <p:spPr bwMode="gray">
          <a:xfrm>
            <a:off x="7257096" y="1192677"/>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e-DE" sz="28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1" name="Rechteck 50">
            <a:extLst>
              <a:ext uri="{FF2B5EF4-FFF2-40B4-BE49-F238E27FC236}">
                <a16:creationId xmlns:a16="http://schemas.microsoft.com/office/drawing/2014/main" id="{A0D3E989-E9F6-D044-B600-D5BA3D4BF9B7}"/>
              </a:ext>
            </a:extLst>
          </p:cNvPr>
          <p:cNvSpPr/>
          <p:nvPr/>
        </p:nvSpPr>
        <p:spPr bwMode="gray">
          <a:xfrm>
            <a:off x="7276947" y="1042289"/>
            <a:ext cx="2196512" cy="592672"/>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INSOLVENCY &amp;</a:t>
            </a:r>
            <a:r>
              <a:rPr kumimoji="0" lang="de-DE" sz="2000" b="0" i="0" u="none" strike="noStrike" kern="1200" cap="all"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Bankruptcy</a:t>
            </a:r>
            <a:r>
              <a:rPr kumimoji="0" lang="de-DE" sz="2000" b="0" i="0" u="none" strike="noStrike" kern="1200" cap="all"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LAW</a:t>
            </a:r>
            <a:endPar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2" name="Rechteck 51">
            <a:extLst>
              <a:ext uri="{FF2B5EF4-FFF2-40B4-BE49-F238E27FC236}">
                <a16:creationId xmlns:a16="http://schemas.microsoft.com/office/drawing/2014/main" id="{B850DD4F-D81C-9E44-866C-E22F5B3E351F}"/>
              </a:ext>
            </a:extLst>
          </p:cNvPr>
          <p:cNvSpPr/>
          <p:nvPr/>
        </p:nvSpPr>
        <p:spPr bwMode="gray">
          <a:xfrm>
            <a:off x="7242164" y="1192677"/>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e-DE" sz="28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3" name="Rechteck 62">
            <a:extLst>
              <a:ext uri="{FF2B5EF4-FFF2-40B4-BE49-F238E27FC236}">
                <a16:creationId xmlns:a16="http://schemas.microsoft.com/office/drawing/2014/main" id="{A0D3E989-E9F6-D044-B600-D5BA3D4BF9B7}"/>
              </a:ext>
            </a:extLst>
          </p:cNvPr>
          <p:cNvSpPr/>
          <p:nvPr/>
        </p:nvSpPr>
        <p:spPr bwMode="gray">
          <a:xfrm>
            <a:off x="7302971" y="1204074"/>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p:txBody>
      </p:sp>
      <p:sp>
        <p:nvSpPr>
          <p:cNvPr id="64" name="Rechteck 63">
            <a:extLst>
              <a:ext uri="{FF2B5EF4-FFF2-40B4-BE49-F238E27FC236}">
                <a16:creationId xmlns:a16="http://schemas.microsoft.com/office/drawing/2014/main" id="{B850DD4F-D81C-9E44-866C-E22F5B3E351F}"/>
              </a:ext>
            </a:extLst>
          </p:cNvPr>
          <p:cNvSpPr/>
          <p:nvPr/>
        </p:nvSpPr>
        <p:spPr bwMode="gray">
          <a:xfrm>
            <a:off x="9661988" y="1204074"/>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e-DE" sz="28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5" name="Rechteck 64">
            <a:extLst>
              <a:ext uri="{FF2B5EF4-FFF2-40B4-BE49-F238E27FC236}">
                <a16:creationId xmlns:a16="http://schemas.microsoft.com/office/drawing/2014/main" id="{60DAF54E-AFD7-4449-85BD-6C7878856BCA}"/>
              </a:ext>
            </a:extLst>
          </p:cNvPr>
          <p:cNvSpPr/>
          <p:nvPr/>
        </p:nvSpPr>
        <p:spPr bwMode="gray">
          <a:xfrm>
            <a:off x="9722622" y="1680707"/>
            <a:ext cx="1866237" cy="4907254"/>
          </a:xfrm>
          <a:prstGeom prst="rect">
            <a:avLst/>
          </a:prstGeom>
        </p:spPr>
        <p:txBody>
          <a:bodyPr wrap="square" lIns="0" tIns="0" rIns="0" bIns="0">
            <a:noAutofit/>
          </a:bodyPr>
          <a:lstStyle/>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6" name="Rechteck 65">
            <a:extLst>
              <a:ext uri="{FF2B5EF4-FFF2-40B4-BE49-F238E27FC236}">
                <a16:creationId xmlns:a16="http://schemas.microsoft.com/office/drawing/2014/main" id="{A0D3E989-E9F6-D044-B600-D5BA3D4BF9B7}"/>
              </a:ext>
            </a:extLst>
          </p:cNvPr>
          <p:cNvSpPr/>
          <p:nvPr/>
        </p:nvSpPr>
        <p:spPr bwMode="gray">
          <a:xfrm>
            <a:off x="9727826" y="1146838"/>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LaBour</a:t>
            </a:r>
            <a:r>
              <a:rPr kumimoji="0" lang="de-DE" sz="2000" b="0" i="0" u="none" strike="noStrike" kern="1200" cap="all"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2000" b="0" i="0" u="none" strike="noStrike" kern="1200" cap="all"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LAws</a:t>
            </a:r>
            <a:endPar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7" name="Rechteck 66">
            <a:extLst>
              <a:ext uri="{FF2B5EF4-FFF2-40B4-BE49-F238E27FC236}">
                <a16:creationId xmlns:a16="http://schemas.microsoft.com/office/drawing/2014/main" id="{B850DD4F-D81C-9E44-866C-E22F5B3E351F}"/>
              </a:ext>
            </a:extLst>
          </p:cNvPr>
          <p:cNvSpPr/>
          <p:nvPr/>
        </p:nvSpPr>
        <p:spPr bwMode="gray">
          <a:xfrm>
            <a:off x="9647056" y="1204074"/>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e-DE" sz="28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8" name="Rechteck 67">
            <a:extLst>
              <a:ext uri="{FF2B5EF4-FFF2-40B4-BE49-F238E27FC236}">
                <a16:creationId xmlns:a16="http://schemas.microsoft.com/office/drawing/2014/main" id="{A0D3E989-E9F6-D044-B600-D5BA3D4BF9B7}"/>
              </a:ext>
            </a:extLst>
          </p:cNvPr>
          <p:cNvSpPr/>
          <p:nvPr/>
        </p:nvSpPr>
        <p:spPr bwMode="gray">
          <a:xfrm>
            <a:off x="9707863" y="1215471"/>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p:txBody>
      </p:sp>
      <p:sp>
        <p:nvSpPr>
          <p:cNvPr id="69" name="Rechteck 68">
            <a:extLst>
              <a:ext uri="{FF2B5EF4-FFF2-40B4-BE49-F238E27FC236}">
                <a16:creationId xmlns:a16="http://schemas.microsoft.com/office/drawing/2014/main" id="{A0D3E989-E9F6-D044-B600-D5BA3D4BF9B7}"/>
              </a:ext>
            </a:extLst>
          </p:cNvPr>
          <p:cNvSpPr/>
          <p:nvPr/>
        </p:nvSpPr>
        <p:spPr bwMode="gray">
          <a:xfrm>
            <a:off x="4912838" y="1148108"/>
            <a:ext cx="2129705" cy="88579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e-DE" sz="2000" cap="all" dirty="0">
                <a:solidFill>
                  <a:prstClr val="black"/>
                </a:solidFill>
                <a:latin typeface="Arial" panose="020B0604020202020204" pitchFamily="34" charset="0"/>
                <a:cs typeface="Arial" panose="020B0604020202020204" pitchFamily="34" charset="0"/>
                <a:sym typeface="Arial" panose="020B0604020202020204" pitchFamily="34" charset="0"/>
              </a:rPr>
              <a:t>Law</a:t>
            </a:r>
            <a:endPar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e-DE" sz="2000" cap="all" dirty="0" err="1">
                <a:solidFill>
                  <a:prstClr val="black"/>
                </a:solidFill>
                <a:latin typeface="Arial" panose="020B0604020202020204" pitchFamily="34" charset="0"/>
                <a:cs typeface="Arial" panose="020B0604020202020204" pitchFamily="34" charset="0"/>
                <a:sym typeface="Arial" panose="020B0604020202020204" pitchFamily="34" charset="0"/>
              </a:rPr>
              <a:t>Enforcement</a:t>
            </a:r>
            <a:r>
              <a:rPr lang="de-DE" sz="2000" cap="all" dirty="0">
                <a:solidFill>
                  <a:prstClr val="black"/>
                </a:solidFill>
                <a:latin typeface="Arial" panose="020B0604020202020204" pitchFamily="34" charset="0"/>
                <a:cs typeface="Arial" panose="020B0604020202020204" pitchFamily="34" charset="0"/>
                <a:sym typeface="Arial" panose="020B0604020202020204" pitchFamily="34" charset="0"/>
              </a:rPr>
              <a:t> </a:t>
            </a:r>
            <a:endPar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70" name="Rechteck 69">
            <a:extLst>
              <a:ext uri="{FF2B5EF4-FFF2-40B4-BE49-F238E27FC236}">
                <a16:creationId xmlns:a16="http://schemas.microsoft.com/office/drawing/2014/main" id="{60DAF54E-AFD7-4449-85BD-6C7878856BCA}"/>
              </a:ext>
            </a:extLst>
          </p:cNvPr>
          <p:cNvSpPr/>
          <p:nvPr/>
        </p:nvSpPr>
        <p:spPr bwMode="gray">
          <a:xfrm>
            <a:off x="4902410" y="2085211"/>
            <a:ext cx="2196685" cy="4357417"/>
          </a:xfrm>
          <a:prstGeom prst="rect">
            <a:avLst/>
          </a:prstGeom>
        </p:spPr>
        <p:txBody>
          <a:bodyPr wrap="square" lIns="0" tIns="0" rIns="0" bIns="0">
            <a:noAutofit/>
          </a:bodyPr>
          <a:lstStyle/>
          <a:p>
            <a:pPr marL="285750" lvl="0" indent="-285750">
              <a:spcAft>
                <a:spcPts val="600"/>
              </a:spcAft>
              <a:buClr>
                <a:srgbClr val="00A990"/>
              </a:buClr>
              <a:buFont typeface="Wingdings" panose="05000000000000000000" pitchFamily="2" charset="2"/>
              <a:buChar char="ü"/>
            </a:pP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Non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enforcement</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of</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Swiss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judgment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No</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recognition</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without</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filing</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new</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civil</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suit</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Choice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of</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law</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nd</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plac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of</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jurisdiction</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Arbitration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Conciliation</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ct, modern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arbitra</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tion</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law</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nd</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institution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vailabl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Contract</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drafting</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under</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Common Law</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7408079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fade">
                                      <p:cBhvr>
                                        <p:cTn id="15" dur="500"/>
                                        <p:tgtEl>
                                          <p:spTgt spid="4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nodePh="1">
                                  <p:stCondLst>
                                    <p:cond delay="0"/>
                                  </p:stCondLst>
                                  <p:endCondLst>
                                    <p:cond evt="begin" delay="0">
                                      <p:tn val="18"/>
                                    </p:cond>
                                  </p:endCondLst>
                                  <p:childTnLst>
                                    <p:set>
                                      <p:cBhvr>
                                        <p:cTn id="19" dur="1" fill="hold">
                                          <p:stCondLst>
                                            <p:cond delay="0"/>
                                          </p:stCondLst>
                                        </p:cTn>
                                        <p:tgtEl>
                                          <p:spTgt spid="41"/>
                                        </p:tgtEl>
                                        <p:attrNameLst>
                                          <p:attrName>style.visibility</p:attrName>
                                        </p:attrNameLst>
                                      </p:cBhvr>
                                      <p:to>
                                        <p:strVal val="visible"/>
                                      </p:to>
                                    </p:set>
                                    <p:animEffect transition="in" filter="fade">
                                      <p:cBhvr>
                                        <p:cTn id="20" dur="500"/>
                                        <p:tgtEl>
                                          <p:spTgt spid="4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5"/>
                                        </p:tgtEl>
                                        <p:attrNameLst>
                                          <p:attrName>style.visibility</p:attrName>
                                        </p:attrNameLst>
                                      </p:cBhvr>
                                      <p:to>
                                        <p:strVal val="visible"/>
                                      </p:to>
                                    </p:set>
                                    <p:animEffect transition="in" filter="fade">
                                      <p:cBhvr>
                                        <p:cTn id="23" dur="500"/>
                                        <p:tgtEl>
                                          <p:spTgt spid="4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6"/>
                                        </p:tgtEl>
                                        <p:attrNameLst>
                                          <p:attrName>style.visibility</p:attrName>
                                        </p:attrNameLst>
                                      </p:cBhvr>
                                      <p:to>
                                        <p:strVal val="visible"/>
                                      </p:to>
                                    </p:set>
                                    <p:animEffect transition="in" filter="fade">
                                      <p:cBhvr>
                                        <p:cTn id="26" dur="500"/>
                                        <p:tgtEl>
                                          <p:spTgt spid="46"/>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nodePh="1">
                                  <p:stCondLst>
                                    <p:cond delay="0"/>
                                  </p:stCondLst>
                                  <p:endCondLst>
                                    <p:cond evt="begin" delay="0">
                                      <p:tn val="29"/>
                                    </p:cond>
                                  </p:endCondLst>
                                  <p:childTnLst>
                                    <p:set>
                                      <p:cBhvr>
                                        <p:cTn id="30" dur="1" fill="hold">
                                          <p:stCondLst>
                                            <p:cond delay="0"/>
                                          </p:stCondLst>
                                        </p:cTn>
                                        <p:tgtEl>
                                          <p:spTgt spid="47"/>
                                        </p:tgtEl>
                                        <p:attrNameLst>
                                          <p:attrName>style.visibility</p:attrName>
                                        </p:attrNameLst>
                                      </p:cBhvr>
                                      <p:to>
                                        <p:strVal val="visible"/>
                                      </p:to>
                                    </p:set>
                                    <p:animEffect transition="in" filter="fade">
                                      <p:cBhvr>
                                        <p:cTn id="31" dur="500"/>
                                        <p:tgtEl>
                                          <p:spTgt spid="47"/>
                                        </p:tgtEl>
                                      </p:cBhvr>
                                    </p:animEffect>
                                  </p:childTnLst>
                                </p:cTn>
                              </p:par>
                              <p:par>
                                <p:cTn id="32" presetID="10" presetClass="entr" presetSubtype="0" fill="hold" grpId="0" nodeType="withEffect" nodePh="1">
                                  <p:stCondLst>
                                    <p:cond delay="0"/>
                                  </p:stCondLst>
                                  <p:endCondLst>
                                    <p:cond evt="begin" delay="0">
                                      <p:tn val="32"/>
                                    </p:cond>
                                  </p:endCondLst>
                                  <p:childTnLst>
                                    <p:set>
                                      <p:cBhvr>
                                        <p:cTn id="33" dur="1" fill="hold">
                                          <p:stCondLst>
                                            <p:cond delay="0"/>
                                          </p:stCondLst>
                                        </p:cTn>
                                        <p:tgtEl>
                                          <p:spTgt spid="48"/>
                                        </p:tgtEl>
                                        <p:attrNameLst>
                                          <p:attrName>style.visibility</p:attrName>
                                        </p:attrNameLst>
                                      </p:cBhvr>
                                      <p:to>
                                        <p:strVal val="visible"/>
                                      </p:to>
                                    </p:set>
                                    <p:animEffect transition="in" filter="fade">
                                      <p:cBhvr>
                                        <p:cTn id="34" dur="500"/>
                                        <p:tgtEl>
                                          <p:spTgt spid="48"/>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9"/>
                                        </p:tgtEl>
                                        <p:attrNameLst>
                                          <p:attrName>style.visibility</p:attrName>
                                        </p:attrNameLst>
                                      </p:cBhvr>
                                      <p:to>
                                        <p:strVal val="visible"/>
                                      </p:to>
                                    </p:set>
                                    <p:animEffect transition="in" filter="fade">
                                      <p:cBhvr>
                                        <p:cTn id="37" dur="500"/>
                                        <p:tgtEl>
                                          <p:spTgt spid="49"/>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69"/>
                                        </p:tgtEl>
                                        <p:attrNameLst>
                                          <p:attrName>style.visibility</p:attrName>
                                        </p:attrNameLst>
                                      </p:cBhvr>
                                      <p:to>
                                        <p:strVal val="visible"/>
                                      </p:to>
                                    </p:set>
                                    <p:animEffect transition="in" filter="fade">
                                      <p:cBhvr>
                                        <p:cTn id="40" dur="500"/>
                                        <p:tgtEl>
                                          <p:spTgt spid="6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0"/>
                                        </p:tgtEl>
                                        <p:attrNameLst>
                                          <p:attrName>style.visibility</p:attrName>
                                        </p:attrNameLst>
                                      </p:cBhvr>
                                      <p:to>
                                        <p:strVal val="visible"/>
                                      </p:to>
                                    </p:set>
                                    <p:animEffect transition="in" filter="fade">
                                      <p:cBhvr>
                                        <p:cTn id="43" dur="500"/>
                                        <p:tgtEl>
                                          <p:spTgt spid="70"/>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37"/>
                                        </p:tgtEl>
                                        <p:attrNameLst>
                                          <p:attrName>style.visibility</p:attrName>
                                        </p:attrNameLst>
                                      </p:cBhvr>
                                      <p:to>
                                        <p:strVal val="visible"/>
                                      </p:to>
                                    </p:set>
                                    <p:animEffect transition="in" filter="fade">
                                      <p:cBhvr>
                                        <p:cTn id="48" dur="500"/>
                                        <p:tgtEl>
                                          <p:spTgt spid="37"/>
                                        </p:tgtEl>
                                      </p:cBhvr>
                                    </p:animEffect>
                                  </p:childTnLst>
                                </p:cTn>
                              </p:par>
                              <p:par>
                                <p:cTn id="49" presetID="10" presetClass="entr" presetSubtype="0" fill="hold" grpId="0" nodeType="withEffect" nodePh="1">
                                  <p:stCondLst>
                                    <p:cond delay="0"/>
                                  </p:stCondLst>
                                  <p:endCondLst>
                                    <p:cond evt="begin" delay="0">
                                      <p:tn val="49"/>
                                    </p:cond>
                                  </p:endCondLst>
                                  <p:childTnLst>
                                    <p:set>
                                      <p:cBhvr>
                                        <p:cTn id="50" dur="1" fill="hold">
                                          <p:stCondLst>
                                            <p:cond delay="0"/>
                                          </p:stCondLst>
                                        </p:cTn>
                                        <p:tgtEl>
                                          <p:spTgt spid="50"/>
                                        </p:tgtEl>
                                        <p:attrNameLst>
                                          <p:attrName>style.visibility</p:attrName>
                                        </p:attrNameLst>
                                      </p:cBhvr>
                                      <p:to>
                                        <p:strVal val="visible"/>
                                      </p:to>
                                    </p:set>
                                    <p:animEffect transition="in" filter="fade">
                                      <p:cBhvr>
                                        <p:cTn id="51" dur="500"/>
                                        <p:tgtEl>
                                          <p:spTgt spid="50"/>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51"/>
                                        </p:tgtEl>
                                        <p:attrNameLst>
                                          <p:attrName>style.visibility</p:attrName>
                                        </p:attrNameLst>
                                      </p:cBhvr>
                                      <p:to>
                                        <p:strVal val="visible"/>
                                      </p:to>
                                    </p:set>
                                    <p:animEffect transition="in" filter="fade">
                                      <p:cBhvr>
                                        <p:cTn id="54" dur="500"/>
                                        <p:tgtEl>
                                          <p:spTgt spid="51"/>
                                        </p:tgtEl>
                                      </p:cBhvr>
                                    </p:animEffect>
                                  </p:childTnLst>
                                </p:cTn>
                              </p:par>
                              <p:par>
                                <p:cTn id="55" presetID="10" presetClass="entr" presetSubtype="0" fill="hold" grpId="0" nodeType="withEffect" nodePh="1">
                                  <p:stCondLst>
                                    <p:cond delay="0"/>
                                  </p:stCondLst>
                                  <p:endCondLst>
                                    <p:cond evt="begin" delay="0">
                                      <p:tn val="55"/>
                                    </p:cond>
                                  </p:endCondLst>
                                  <p:childTnLst>
                                    <p:set>
                                      <p:cBhvr>
                                        <p:cTn id="56" dur="1" fill="hold">
                                          <p:stCondLst>
                                            <p:cond delay="0"/>
                                          </p:stCondLst>
                                        </p:cTn>
                                        <p:tgtEl>
                                          <p:spTgt spid="52"/>
                                        </p:tgtEl>
                                        <p:attrNameLst>
                                          <p:attrName>style.visibility</p:attrName>
                                        </p:attrNameLst>
                                      </p:cBhvr>
                                      <p:to>
                                        <p:strVal val="visible"/>
                                      </p:to>
                                    </p:set>
                                    <p:animEffect transition="in" filter="fade">
                                      <p:cBhvr>
                                        <p:cTn id="57" dur="500"/>
                                        <p:tgtEl>
                                          <p:spTgt spid="52"/>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63"/>
                                        </p:tgtEl>
                                        <p:attrNameLst>
                                          <p:attrName>style.visibility</p:attrName>
                                        </p:attrNameLst>
                                      </p:cBhvr>
                                      <p:to>
                                        <p:strVal val="visible"/>
                                      </p:to>
                                    </p:set>
                                    <p:animEffect transition="in" filter="fade">
                                      <p:cBhvr>
                                        <p:cTn id="60" dur="500"/>
                                        <p:tgtEl>
                                          <p:spTgt spid="63"/>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35"/>
                                        </p:tgtEl>
                                        <p:attrNameLst>
                                          <p:attrName>style.visibility</p:attrName>
                                        </p:attrNameLst>
                                      </p:cBhvr>
                                      <p:to>
                                        <p:strVal val="visible"/>
                                      </p:to>
                                    </p:set>
                                    <p:animEffect transition="in" filter="fade">
                                      <p:cBhvr>
                                        <p:cTn id="65" dur="500"/>
                                        <p:tgtEl>
                                          <p:spTgt spid="35"/>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66"/>
                                        </p:tgtEl>
                                        <p:attrNameLst>
                                          <p:attrName>style.visibility</p:attrName>
                                        </p:attrNameLst>
                                      </p:cBhvr>
                                      <p:to>
                                        <p:strVal val="visible"/>
                                      </p:to>
                                    </p:set>
                                    <p:animEffect transition="in" filter="fade">
                                      <p:cBhvr>
                                        <p:cTn id="68" dur="500"/>
                                        <p:tgtEl>
                                          <p:spTgt spid="66"/>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39"/>
                                        </p:tgtEl>
                                        <p:attrNameLst>
                                          <p:attrName>style.visibility</p:attrName>
                                        </p:attrNameLst>
                                      </p:cBhvr>
                                      <p:to>
                                        <p:strVal val="visible"/>
                                      </p:to>
                                    </p:set>
                                    <p:animEffect transition="in" filter="fade">
                                      <p:cBhvr>
                                        <p:cTn id="71" dur="500"/>
                                        <p:tgtEl>
                                          <p:spTgt spid="39"/>
                                        </p:tgtEl>
                                      </p:cBhvr>
                                    </p:animEffect>
                                  </p:childTnLst>
                                </p:cTn>
                              </p:par>
                              <p:par>
                                <p:cTn id="72" presetID="10" presetClass="entr" presetSubtype="0" fill="hold" grpId="0" nodeType="withEffect" nodePh="1">
                                  <p:stCondLst>
                                    <p:cond delay="0"/>
                                  </p:stCondLst>
                                  <p:endCondLst>
                                    <p:cond evt="begin" delay="0">
                                      <p:tn val="72"/>
                                    </p:cond>
                                  </p:endCondLst>
                                  <p:childTnLst>
                                    <p:set>
                                      <p:cBhvr>
                                        <p:cTn id="73" dur="1" fill="hold">
                                          <p:stCondLst>
                                            <p:cond delay="0"/>
                                          </p:stCondLst>
                                        </p:cTn>
                                        <p:tgtEl>
                                          <p:spTgt spid="65"/>
                                        </p:tgtEl>
                                        <p:attrNameLst>
                                          <p:attrName>style.visibility</p:attrName>
                                        </p:attrNameLst>
                                      </p:cBhvr>
                                      <p:to>
                                        <p:strVal val="visible"/>
                                      </p:to>
                                    </p:set>
                                    <p:animEffect transition="in" filter="fade">
                                      <p:cBhvr>
                                        <p:cTn id="74" dur="500"/>
                                        <p:tgtEl>
                                          <p:spTgt spid="6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37" grpId="0"/>
      <p:bldP spid="39" grpId="0"/>
      <p:bldP spid="40" grpId="0"/>
      <p:bldP spid="41" grpId="0"/>
      <p:bldP spid="42" grpId="0"/>
      <p:bldP spid="45" grpId="0"/>
      <p:bldP spid="46" grpId="0"/>
      <p:bldP spid="47" grpId="0"/>
      <p:bldP spid="48" grpId="0"/>
      <p:bldP spid="49" grpId="0"/>
      <p:bldP spid="50" grpId="0"/>
      <p:bldP spid="51" grpId="0"/>
      <p:bldP spid="52" grpId="0"/>
      <p:bldP spid="63" grpId="0"/>
      <p:bldP spid="65" grpId="0"/>
      <p:bldP spid="66" grpId="0"/>
      <p:bldP spid="69" grpId="0"/>
      <p:bldP spid="7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Tabelle 28">
            <a:extLst>
              <a:ext uri="{FF2B5EF4-FFF2-40B4-BE49-F238E27FC236}">
                <a16:creationId xmlns:a16="http://schemas.microsoft.com/office/drawing/2014/main" id="{19539B79-FD6A-DB4C-98A4-CD7C555C03BF}"/>
              </a:ext>
            </a:extLst>
          </p:cNvPr>
          <p:cNvGraphicFramePr>
            <a:graphicFrameLocks noGrp="1"/>
          </p:cNvGraphicFramePr>
          <p:nvPr>
            <p:extLst/>
          </p:nvPr>
        </p:nvGraphicFramePr>
        <p:xfrm>
          <a:off x="0" y="914676"/>
          <a:ext cx="11928650" cy="5941738"/>
        </p:xfrm>
        <a:graphic>
          <a:graphicData uri="http://schemas.openxmlformats.org/drawingml/2006/table">
            <a:tbl>
              <a:tblPr firstRow="1" bandRow="1">
                <a:tableStyleId>{5C22544A-7EE6-4342-B048-85BDC9FD1C3A}</a:tableStyleId>
              </a:tblPr>
              <a:tblGrid>
                <a:gridCol w="2385730">
                  <a:extLst>
                    <a:ext uri="{9D8B030D-6E8A-4147-A177-3AD203B41FA5}">
                      <a16:colId xmlns:a16="http://schemas.microsoft.com/office/drawing/2014/main" val="20000"/>
                    </a:ext>
                  </a:extLst>
                </a:gridCol>
                <a:gridCol w="2385730">
                  <a:extLst>
                    <a:ext uri="{9D8B030D-6E8A-4147-A177-3AD203B41FA5}">
                      <a16:colId xmlns:a16="http://schemas.microsoft.com/office/drawing/2014/main" val="20001"/>
                    </a:ext>
                  </a:extLst>
                </a:gridCol>
                <a:gridCol w="2385730">
                  <a:extLst>
                    <a:ext uri="{9D8B030D-6E8A-4147-A177-3AD203B41FA5}">
                      <a16:colId xmlns:a16="http://schemas.microsoft.com/office/drawing/2014/main" val="20002"/>
                    </a:ext>
                  </a:extLst>
                </a:gridCol>
                <a:gridCol w="2385730">
                  <a:extLst>
                    <a:ext uri="{9D8B030D-6E8A-4147-A177-3AD203B41FA5}">
                      <a16:colId xmlns:a16="http://schemas.microsoft.com/office/drawing/2014/main" val="20003"/>
                    </a:ext>
                  </a:extLst>
                </a:gridCol>
                <a:gridCol w="2385730">
                  <a:extLst>
                    <a:ext uri="{9D8B030D-6E8A-4147-A177-3AD203B41FA5}">
                      <a16:colId xmlns:a16="http://schemas.microsoft.com/office/drawing/2014/main" val="20004"/>
                    </a:ext>
                  </a:extLst>
                </a:gridCol>
              </a:tblGrid>
              <a:tr h="5941738">
                <a:tc>
                  <a:txBody>
                    <a:bodyPr/>
                    <a:lstStyle/>
                    <a:p>
                      <a:pPr>
                        <a:lnSpc>
                          <a:spcPct val="100000"/>
                        </a:lnSpc>
                        <a:spcAft>
                          <a:spcPts val="600"/>
                        </a:spcAft>
                      </a:pPr>
                      <a:endParaRPr lang="de-DE" sz="2000" b="0" dirty="0">
                        <a:solidFill>
                          <a:schemeClr val="accent1"/>
                        </a:solidFill>
                        <a:latin typeface="Arial" panose="020B0604020202020204" pitchFamily="34" charset="0"/>
                        <a:cs typeface="Arial" panose="020B0604020202020204" pitchFamily="34" charset="0"/>
                        <a:sym typeface="Arial" panose="020B0604020202020204" pitchFamily="34" charset="0"/>
                      </a:endParaRPr>
                    </a:p>
                  </a:txBody>
                  <a:tcPr marL="180000" marT="108000" marB="108000">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600"/>
                        </a:spcAft>
                      </a:pPr>
                      <a:endParaRPr lang="de-DE" sz="2000" b="0" dirty="0">
                        <a:solidFill>
                          <a:schemeClr val="accent1"/>
                        </a:solidFill>
                        <a:latin typeface="Arial" panose="020B0604020202020204" pitchFamily="34" charset="0"/>
                        <a:cs typeface="Arial" panose="020B0604020202020204" pitchFamily="34" charset="0"/>
                        <a:sym typeface="Arial" panose="020B0604020202020204" pitchFamily="34" charset="0"/>
                      </a:endParaRPr>
                    </a:p>
                  </a:txBody>
                  <a:tcPr marL="180000" marT="108000" marB="108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600"/>
                        </a:spcAft>
                      </a:pPr>
                      <a:endParaRPr lang="de-DE" sz="2000" b="0" dirty="0">
                        <a:solidFill>
                          <a:schemeClr val="accent1"/>
                        </a:solidFill>
                        <a:latin typeface="Arial" panose="020B0604020202020204" pitchFamily="34" charset="0"/>
                        <a:cs typeface="Arial" panose="020B0604020202020204" pitchFamily="34" charset="0"/>
                        <a:sym typeface="Arial" panose="020B0604020202020204" pitchFamily="34" charset="0"/>
                      </a:endParaRPr>
                    </a:p>
                  </a:txBody>
                  <a:tcPr marL="180000" marT="108000" marB="108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600"/>
                        </a:spcAft>
                      </a:pPr>
                      <a:endParaRPr lang="de-DE" sz="2000" b="0" dirty="0">
                        <a:solidFill>
                          <a:schemeClr val="accent1"/>
                        </a:solidFill>
                        <a:latin typeface="Arial" panose="020B0604020202020204" pitchFamily="34" charset="0"/>
                        <a:cs typeface="Arial" panose="020B0604020202020204" pitchFamily="34" charset="0"/>
                        <a:sym typeface="Arial" panose="020B0604020202020204" pitchFamily="34" charset="0"/>
                      </a:endParaRPr>
                    </a:p>
                  </a:txBody>
                  <a:tcPr marL="180000" marT="108000" marB="10800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00000"/>
                        </a:lnSpc>
                        <a:spcAft>
                          <a:spcPts val="600"/>
                        </a:spcAft>
                      </a:pPr>
                      <a:endParaRPr lang="de-DE" sz="2000" b="0" dirty="0">
                        <a:solidFill>
                          <a:schemeClr val="accent1"/>
                        </a:solidFill>
                        <a:latin typeface="Arial" panose="020B0604020202020204" pitchFamily="34" charset="0"/>
                        <a:cs typeface="Arial" panose="020B0604020202020204" pitchFamily="34" charset="0"/>
                        <a:sym typeface="Arial" panose="020B0604020202020204" pitchFamily="34" charset="0"/>
                      </a:endParaRPr>
                    </a:p>
                  </a:txBody>
                  <a:tcPr marL="180000" marT="108000" marB="108000">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Objek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4464"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564CCBB-0B1B-4B43-AF30-E254387C75FC}"/>
              </a:ext>
            </a:extLst>
          </p:cNvPr>
          <p:cNvSpPr>
            <a:spLocks noGrp="1"/>
          </p:cNvSpPr>
          <p:nvPr>
            <p:ph type="title"/>
          </p:nvPr>
        </p:nvSpPr>
        <p:spPr/>
        <p:txBody>
          <a:bodyPr/>
          <a:lstStyle/>
          <a:p>
            <a:r>
              <a:rPr lang="de-DE" dirty="0"/>
              <a:t>Comments </a:t>
            </a:r>
            <a:endParaRPr lang="de-DE" dirty="0">
              <a:sym typeface="Arial" panose="020B0604020202020204" pitchFamily="34" charset="0"/>
            </a:endParaRPr>
          </a:p>
        </p:txBody>
      </p:sp>
      <p:sp>
        <p:nvSpPr>
          <p:cNvPr id="7" name="Foliennummernplatzhalter 6"/>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de-DE"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5" name="Grafik 14"/>
          <p:cNvPicPr>
            <a:picLocks noChangeAspect="1"/>
          </p:cNvPicPr>
          <p:nvPr/>
        </p:nvPicPr>
        <p:blipFill rotWithShape="1">
          <a:blip r:embed="rId7">
            <a:extLst>
              <a:ext uri="{28A0092B-C50C-407E-A947-70E740481C1C}">
                <a14:useLocalDpi xmlns:a14="http://schemas.microsoft.com/office/drawing/2010/main" val="0"/>
              </a:ext>
            </a:extLst>
          </a:blip>
          <a:srcRect l="29659" r="7788"/>
          <a:stretch/>
        </p:blipFill>
        <p:spPr>
          <a:xfrm>
            <a:off x="9550153" y="4358777"/>
            <a:ext cx="2393429" cy="3020869"/>
          </a:xfrm>
          <a:prstGeom prst="rect">
            <a:avLst/>
          </a:prstGeom>
        </p:spPr>
      </p:pic>
      <p:sp>
        <p:nvSpPr>
          <p:cNvPr id="19" name="Rechteck 18">
            <a:extLst>
              <a:ext uri="{FF2B5EF4-FFF2-40B4-BE49-F238E27FC236}">
                <a16:creationId xmlns:a16="http://schemas.microsoft.com/office/drawing/2014/main" id="{60DAF54E-AFD7-4449-85BD-6C7878856BCA}"/>
              </a:ext>
            </a:extLst>
          </p:cNvPr>
          <p:cNvSpPr/>
          <p:nvPr/>
        </p:nvSpPr>
        <p:spPr bwMode="gray">
          <a:xfrm>
            <a:off x="263352" y="1661988"/>
            <a:ext cx="1866237" cy="4907254"/>
          </a:xfrm>
          <a:prstGeom prst="rect">
            <a:avLst/>
          </a:prstGeom>
        </p:spPr>
        <p:txBody>
          <a:bodyPr wrap="square" lIns="0" tIns="0" rIns="0" bIns="0">
            <a:noAutofit/>
          </a:bodyPr>
          <a:lstStyle/>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Reduction</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in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Tax</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rates</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o</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25%.</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Dividend</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Distribution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ax</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gains</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importa</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nce</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ax</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burden</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on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dividends</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distributed</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Gewinns 38% (bislang 45%)</a:t>
            </a:r>
          </a:p>
        </p:txBody>
      </p:sp>
      <p:sp>
        <p:nvSpPr>
          <p:cNvPr id="20" name="Rechteck 19">
            <a:extLst>
              <a:ext uri="{FF2B5EF4-FFF2-40B4-BE49-F238E27FC236}">
                <a16:creationId xmlns:a16="http://schemas.microsoft.com/office/drawing/2014/main" id="{B850DD4F-D81C-9E44-866C-E22F5B3E351F}"/>
              </a:ext>
            </a:extLst>
          </p:cNvPr>
          <p:cNvSpPr/>
          <p:nvPr/>
        </p:nvSpPr>
        <p:spPr bwMode="gray">
          <a:xfrm>
            <a:off x="2492199" y="1196752"/>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e-DE" sz="28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8" name="Rechteck 27">
            <a:extLst>
              <a:ext uri="{FF2B5EF4-FFF2-40B4-BE49-F238E27FC236}">
                <a16:creationId xmlns:a16="http://schemas.microsoft.com/office/drawing/2014/main" id="{A0D3E989-E9F6-D044-B600-D5BA3D4BF9B7}"/>
              </a:ext>
            </a:extLst>
          </p:cNvPr>
          <p:cNvSpPr/>
          <p:nvPr/>
        </p:nvSpPr>
        <p:spPr bwMode="gray">
          <a:xfrm>
            <a:off x="263525" y="1196752"/>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AX</a:t>
            </a:r>
            <a:r>
              <a:rPr kumimoji="0" lang="de-DE" sz="2000" b="0" i="0" u="none" strike="noStrike" kern="1200" cap="all"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RATES</a:t>
            </a:r>
            <a:endPar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0" name="Rechteck 29">
            <a:extLst>
              <a:ext uri="{FF2B5EF4-FFF2-40B4-BE49-F238E27FC236}">
                <a16:creationId xmlns:a16="http://schemas.microsoft.com/office/drawing/2014/main" id="{60DAF54E-AFD7-4449-85BD-6C7878856BCA}"/>
              </a:ext>
            </a:extLst>
          </p:cNvPr>
          <p:cNvSpPr/>
          <p:nvPr/>
        </p:nvSpPr>
        <p:spPr bwMode="gray">
          <a:xfrm>
            <a:off x="2552833" y="1673385"/>
            <a:ext cx="1866237" cy="4907254"/>
          </a:xfrm>
          <a:prstGeom prst="rect">
            <a:avLst/>
          </a:prstGeom>
        </p:spPr>
        <p:txBody>
          <a:bodyPr wrap="square" lIns="0" tIns="0" rIns="0" bIns="0">
            <a:noAutofit/>
          </a:bodyPr>
          <a:lstStyle/>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Formaliti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s like</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z.B.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ax</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refunds</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and</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Tax</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payment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Genera</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l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ttitud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of</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th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tax</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uthoritie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th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lower</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level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Frequent</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change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of</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th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civil</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officer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p>
          <a:p>
            <a:pPr marR="0" lvl="0" algn="l" defTabSz="914400" rtl="0" eaLnBrk="1" fontAlgn="auto" latinLnBrk="0" hangingPunct="1">
              <a:lnSpc>
                <a:spcPct val="100000"/>
              </a:lnSpc>
              <a:spcBef>
                <a:spcPts val="0"/>
              </a:spcBef>
              <a:spcAft>
                <a:spcPts val="600"/>
              </a:spcAft>
              <a:buClr>
                <a:srgbClr val="00A990"/>
              </a:buClr>
              <a:buSzTx/>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IT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i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th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first</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fair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instance</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Long</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duration</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proceedings</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Hig</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h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consultancy</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fee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for</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our</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clients</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1" name="Rechteck 30">
            <a:extLst>
              <a:ext uri="{FF2B5EF4-FFF2-40B4-BE49-F238E27FC236}">
                <a16:creationId xmlns:a16="http://schemas.microsoft.com/office/drawing/2014/main" id="{A0D3E989-E9F6-D044-B600-D5BA3D4BF9B7}"/>
              </a:ext>
            </a:extLst>
          </p:cNvPr>
          <p:cNvSpPr/>
          <p:nvPr/>
        </p:nvSpPr>
        <p:spPr bwMode="gray">
          <a:xfrm>
            <a:off x="2553006" y="1208149"/>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PROCEDURES </a:t>
            </a:r>
          </a:p>
        </p:txBody>
      </p:sp>
      <p:sp>
        <p:nvSpPr>
          <p:cNvPr id="33" name="Rechteck 32">
            <a:extLst>
              <a:ext uri="{FF2B5EF4-FFF2-40B4-BE49-F238E27FC236}">
                <a16:creationId xmlns:a16="http://schemas.microsoft.com/office/drawing/2014/main" id="{B850DD4F-D81C-9E44-866C-E22F5B3E351F}"/>
              </a:ext>
            </a:extLst>
          </p:cNvPr>
          <p:cNvSpPr/>
          <p:nvPr/>
        </p:nvSpPr>
        <p:spPr bwMode="gray">
          <a:xfrm>
            <a:off x="4912838" y="1185355"/>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e-DE" sz="28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4" name="Rechteck 33">
            <a:extLst>
              <a:ext uri="{FF2B5EF4-FFF2-40B4-BE49-F238E27FC236}">
                <a16:creationId xmlns:a16="http://schemas.microsoft.com/office/drawing/2014/main" id="{60DAF54E-AFD7-4449-85BD-6C7878856BCA}"/>
              </a:ext>
            </a:extLst>
          </p:cNvPr>
          <p:cNvSpPr/>
          <p:nvPr/>
        </p:nvSpPr>
        <p:spPr bwMode="gray">
          <a:xfrm>
            <a:off x="4973472" y="1661988"/>
            <a:ext cx="1866237" cy="4907254"/>
          </a:xfrm>
          <a:prstGeom prst="rect">
            <a:avLst/>
          </a:prstGeom>
        </p:spPr>
        <p:txBody>
          <a:bodyPr wrap="square" lIns="0" tIns="0" rIns="0" bIns="0">
            <a:noAutofit/>
          </a:bodyPr>
          <a:lstStyle/>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NOT</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OECD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member</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For</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eign</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Companies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r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in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focu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New</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fundamental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principles</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regarding</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axation</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of</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permanen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esta</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blishment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Unclarit</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y in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regulation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regarding</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registration</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obligation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nd</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o</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ptions</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5" name="Rechteck 34">
            <a:extLst>
              <a:ext uri="{FF2B5EF4-FFF2-40B4-BE49-F238E27FC236}">
                <a16:creationId xmlns:a16="http://schemas.microsoft.com/office/drawing/2014/main" id="{A0D3E989-E9F6-D044-B600-D5BA3D4BF9B7}"/>
              </a:ext>
            </a:extLst>
          </p:cNvPr>
          <p:cNvSpPr/>
          <p:nvPr/>
        </p:nvSpPr>
        <p:spPr bwMode="gray">
          <a:xfrm>
            <a:off x="4973645" y="1196752"/>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Cross-</a:t>
            </a:r>
            <a:r>
              <a:rPr kumimoji="0" lang="de-DE" sz="2000" b="0" i="0" u="none" strike="noStrike" kern="1200" cap="all"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Border</a:t>
            </a:r>
            <a:endPar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6" name="Rechteck 35">
            <a:extLst>
              <a:ext uri="{FF2B5EF4-FFF2-40B4-BE49-F238E27FC236}">
                <a16:creationId xmlns:a16="http://schemas.microsoft.com/office/drawing/2014/main" id="{B850DD4F-D81C-9E44-866C-E22F5B3E351F}"/>
              </a:ext>
            </a:extLst>
          </p:cNvPr>
          <p:cNvSpPr/>
          <p:nvPr/>
        </p:nvSpPr>
        <p:spPr bwMode="gray">
          <a:xfrm>
            <a:off x="4897906" y="1185355"/>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e-DE" sz="28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8" name="Rechteck 37">
            <a:extLst>
              <a:ext uri="{FF2B5EF4-FFF2-40B4-BE49-F238E27FC236}">
                <a16:creationId xmlns:a16="http://schemas.microsoft.com/office/drawing/2014/main" id="{A0D3E989-E9F6-D044-B600-D5BA3D4BF9B7}"/>
              </a:ext>
            </a:extLst>
          </p:cNvPr>
          <p:cNvSpPr/>
          <p:nvPr/>
        </p:nvSpPr>
        <p:spPr bwMode="gray">
          <a:xfrm>
            <a:off x="4958713" y="1196752"/>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p:txBody>
      </p:sp>
      <p:pic>
        <p:nvPicPr>
          <p:cNvPr id="45" name="Grafik 44">
            <a:extLst>
              <a:ext uri="{FF2B5EF4-FFF2-40B4-BE49-F238E27FC236}">
                <a16:creationId xmlns:a16="http://schemas.microsoft.com/office/drawing/2014/main" id="{2CC9CD54-D280-8947-8A0F-CC087EC33E4E}"/>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21650" r="60041"/>
          <a:stretch/>
        </p:blipFill>
        <p:spPr bwMode="gray">
          <a:xfrm>
            <a:off x="7293367" y="502608"/>
            <a:ext cx="2232248" cy="6851363"/>
          </a:xfrm>
          <a:prstGeom prst="rect">
            <a:avLst/>
          </a:prstGeom>
        </p:spPr>
      </p:pic>
      <p:sp>
        <p:nvSpPr>
          <p:cNvPr id="53" name="Rechteck 52">
            <a:extLst>
              <a:ext uri="{FF2B5EF4-FFF2-40B4-BE49-F238E27FC236}">
                <a16:creationId xmlns:a16="http://schemas.microsoft.com/office/drawing/2014/main" id="{B850DD4F-D81C-9E44-866C-E22F5B3E351F}"/>
              </a:ext>
            </a:extLst>
          </p:cNvPr>
          <p:cNvSpPr/>
          <p:nvPr/>
        </p:nvSpPr>
        <p:spPr bwMode="gray">
          <a:xfrm>
            <a:off x="7257096" y="1192677"/>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e-DE" sz="28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4" name="Rechteck 53">
            <a:extLst>
              <a:ext uri="{FF2B5EF4-FFF2-40B4-BE49-F238E27FC236}">
                <a16:creationId xmlns:a16="http://schemas.microsoft.com/office/drawing/2014/main" id="{60DAF54E-AFD7-4449-85BD-6C7878856BCA}"/>
              </a:ext>
            </a:extLst>
          </p:cNvPr>
          <p:cNvSpPr/>
          <p:nvPr/>
        </p:nvSpPr>
        <p:spPr bwMode="gray">
          <a:xfrm>
            <a:off x="7317730" y="1669310"/>
            <a:ext cx="1866237" cy="4907254"/>
          </a:xfrm>
          <a:prstGeom prst="rect">
            <a:avLst/>
          </a:prstGeom>
        </p:spPr>
        <p:txBody>
          <a:bodyPr wrap="square" lIns="0" tIns="0" rIns="0" bIns="0">
            <a:noAutofit/>
          </a:bodyPr>
          <a:lstStyle/>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Make</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in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India</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a:t>
            </a:r>
          </a:p>
          <a:p>
            <a:pPr marR="0" lvl="0" algn="l" defTabSz="914400" rtl="0" eaLnBrk="1" fontAlgn="auto" latinLnBrk="0" hangingPunct="1">
              <a:lnSpc>
                <a:spcPct val="100000"/>
              </a:lnSpc>
              <a:spcBef>
                <a:spcPts val="0"/>
              </a:spcBef>
              <a:spcAft>
                <a:spcPts val="600"/>
              </a:spcAft>
              <a:buClr>
                <a:srgbClr val="00A990"/>
              </a:buClr>
              <a:buSzTx/>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Standard</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guidelines</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lacking</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details</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Local</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sal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s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require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registration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carrying</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wid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tax</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implications</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5" name="Rechteck 54">
            <a:extLst>
              <a:ext uri="{FF2B5EF4-FFF2-40B4-BE49-F238E27FC236}">
                <a16:creationId xmlns:a16="http://schemas.microsoft.com/office/drawing/2014/main" id="{A0D3E989-E9F6-D044-B600-D5BA3D4BF9B7}"/>
              </a:ext>
            </a:extLst>
          </p:cNvPr>
          <p:cNvSpPr/>
          <p:nvPr/>
        </p:nvSpPr>
        <p:spPr bwMode="gray">
          <a:xfrm>
            <a:off x="7317903" y="1204074"/>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Local</a:t>
            </a:r>
            <a:r>
              <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Content</a:t>
            </a:r>
          </a:p>
        </p:txBody>
      </p:sp>
      <p:sp>
        <p:nvSpPr>
          <p:cNvPr id="56" name="Rechteck 55">
            <a:extLst>
              <a:ext uri="{FF2B5EF4-FFF2-40B4-BE49-F238E27FC236}">
                <a16:creationId xmlns:a16="http://schemas.microsoft.com/office/drawing/2014/main" id="{B850DD4F-D81C-9E44-866C-E22F5B3E351F}"/>
              </a:ext>
            </a:extLst>
          </p:cNvPr>
          <p:cNvSpPr/>
          <p:nvPr/>
        </p:nvSpPr>
        <p:spPr bwMode="gray">
          <a:xfrm>
            <a:off x="7242164" y="1192677"/>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e-DE" sz="28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7" name="Rechteck 56">
            <a:extLst>
              <a:ext uri="{FF2B5EF4-FFF2-40B4-BE49-F238E27FC236}">
                <a16:creationId xmlns:a16="http://schemas.microsoft.com/office/drawing/2014/main" id="{A0D3E989-E9F6-D044-B600-D5BA3D4BF9B7}"/>
              </a:ext>
            </a:extLst>
          </p:cNvPr>
          <p:cNvSpPr/>
          <p:nvPr/>
        </p:nvSpPr>
        <p:spPr bwMode="gray">
          <a:xfrm>
            <a:off x="7302971" y="1204074"/>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p:txBody>
      </p:sp>
      <p:sp>
        <p:nvSpPr>
          <p:cNvPr id="58" name="Rechteck 57">
            <a:extLst>
              <a:ext uri="{FF2B5EF4-FFF2-40B4-BE49-F238E27FC236}">
                <a16:creationId xmlns:a16="http://schemas.microsoft.com/office/drawing/2014/main" id="{B850DD4F-D81C-9E44-866C-E22F5B3E351F}"/>
              </a:ext>
            </a:extLst>
          </p:cNvPr>
          <p:cNvSpPr/>
          <p:nvPr/>
        </p:nvSpPr>
        <p:spPr bwMode="gray">
          <a:xfrm>
            <a:off x="9661988" y="1204074"/>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e-DE" sz="28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9" name="Rechteck 58">
            <a:extLst>
              <a:ext uri="{FF2B5EF4-FFF2-40B4-BE49-F238E27FC236}">
                <a16:creationId xmlns:a16="http://schemas.microsoft.com/office/drawing/2014/main" id="{60DAF54E-AFD7-4449-85BD-6C7878856BCA}"/>
              </a:ext>
            </a:extLst>
          </p:cNvPr>
          <p:cNvSpPr/>
          <p:nvPr/>
        </p:nvSpPr>
        <p:spPr bwMode="gray">
          <a:xfrm>
            <a:off x="9722622" y="1680707"/>
            <a:ext cx="1866237" cy="4907254"/>
          </a:xfrm>
          <a:prstGeom prst="rect">
            <a:avLst/>
          </a:prstGeom>
        </p:spPr>
        <p:txBody>
          <a:bodyPr wrap="square" lIns="0" tIns="0" rIns="0" bIns="0">
            <a:noAutofit/>
          </a:bodyPr>
          <a:lstStyle/>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ranspare</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nt</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nd</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comprehensible</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judgements</a:t>
            </a:r>
            <a:endParaRPr lang="de-DE" sz="1400" dirty="0">
              <a:solidFill>
                <a:prstClr val="black"/>
              </a:solidFill>
              <a:latin typeface="Arial" panose="020B0604020202020204" pitchFamily="34" charset="0"/>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Hígh</a:t>
            </a: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Courts und Supreme Court als „</a:t>
            </a:r>
            <a:r>
              <a:rPr kumimoji="0" lang="de-DE"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Correc</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tion</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instance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
                <a:srgbClr val="00A990"/>
              </a:buClr>
              <a:buSzTx/>
              <a:buFont typeface="Wingdings" panose="05000000000000000000" pitchFamily="2" charset="2"/>
              <a:buChar char="ü"/>
              <a:tabLst/>
              <a:defRPr/>
            </a:pPr>
            <a:r>
              <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Security</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for</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he</a:t>
            </a:r>
            <a:r>
              <a:rPr kumimoji="0" lang="de-DE" sz="14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de-DE" sz="1400" b="0" i="0" u="none" strike="noStrike" kern="1200" cap="none" spc="0" normalizeH="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invest</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ors</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and</a:t>
            </a:r>
            <a:r>
              <a:rPr lang="de-DE" sz="1400" dirty="0">
                <a:solidFill>
                  <a:prstClr val="black"/>
                </a:solidFill>
                <a:latin typeface="Arial" panose="020B0604020202020204" pitchFamily="34" charset="0"/>
                <a:cs typeface="Arial" panose="020B0604020202020204" pitchFamily="34" charset="0"/>
                <a:sym typeface="Arial" panose="020B0604020202020204" pitchFamily="34" charset="0"/>
              </a:rPr>
              <a:t> </a:t>
            </a:r>
            <a:r>
              <a:rPr lang="de-DE" sz="1400" dirty="0" err="1">
                <a:solidFill>
                  <a:prstClr val="black"/>
                </a:solidFill>
                <a:latin typeface="Arial" panose="020B0604020202020204" pitchFamily="34" charset="0"/>
                <a:cs typeface="Arial" panose="020B0604020202020204" pitchFamily="34" charset="0"/>
                <a:sym typeface="Arial" panose="020B0604020202020204" pitchFamily="34" charset="0"/>
              </a:rPr>
              <a:t>suppliers</a:t>
            </a:r>
            <a:endParaRPr kumimoji="0" lang="de-DE"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0" name="Rechteck 59">
            <a:extLst>
              <a:ext uri="{FF2B5EF4-FFF2-40B4-BE49-F238E27FC236}">
                <a16:creationId xmlns:a16="http://schemas.microsoft.com/office/drawing/2014/main" id="{A0D3E989-E9F6-D044-B600-D5BA3D4BF9B7}"/>
              </a:ext>
            </a:extLst>
          </p:cNvPr>
          <p:cNvSpPr/>
          <p:nvPr/>
        </p:nvSpPr>
        <p:spPr bwMode="gray">
          <a:xfrm>
            <a:off x="9722795" y="1215471"/>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RULE</a:t>
            </a:r>
            <a:r>
              <a:rPr kumimoji="0" lang="de-DE" sz="2000" b="0" i="0" u="none" strike="noStrike" kern="1200" cap="all" spc="0" normalizeH="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OF LAW</a:t>
            </a:r>
            <a:endPar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1" name="Rechteck 60">
            <a:extLst>
              <a:ext uri="{FF2B5EF4-FFF2-40B4-BE49-F238E27FC236}">
                <a16:creationId xmlns:a16="http://schemas.microsoft.com/office/drawing/2014/main" id="{B850DD4F-D81C-9E44-866C-E22F5B3E351F}"/>
              </a:ext>
            </a:extLst>
          </p:cNvPr>
          <p:cNvSpPr/>
          <p:nvPr/>
        </p:nvSpPr>
        <p:spPr bwMode="gray">
          <a:xfrm>
            <a:off x="9647056" y="1204074"/>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de-DE" sz="28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2" name="Rechteck 61">
            <a:extLst>
              <a:ext uri="{FF2B5EF4-FFF2-40B4-BE49-F238E27FC236}">
                <a16:creationId xmlns:a16="http://schemas.microsoft.com/office/drawing/2014/main" id="{A0D3E989-E9F6-D044-B600-D5BA3D4BF9B7}"/>
              </a:ext>
            </a:extLst>
          </p:cNvPr>
          <p:cNvSpPr/>
          <p:nvPr/>
        </p:nvSpPr>
        <p:spPr bwMode="gray">
          <a:xfrm>
            <a:off x="9707863" y="1215471"/>
            <a:ext cx="1589088" cy="430887"/>
          </a:xfrm>
          <a:prstGeom prst="rect">
            <a:avLst/>
          </a:prstGeom>
        </p:spPr>
        <p:txBody>
          <a:bodyPr wrap="none" lIns="0" tIns="0" rIns="0" bIns="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2000" b="0" i="0" u="none" strike="noStrike" kern="1200" cap="all"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p>
        </p:txBody>
      </p:sp>
    </p:spTree>
    <p:extLst>
      <p:ext uri="{BB962C8B-B14F-4D97-AF65-F5344CB8AC3E}">
        <p14:creationId xmlns:p14="http://schemas.microsoft.com/office/powerpoint/2010/main" val="9967992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nodePh="1">
                                  <p:stCondLst>
                                    <p:cond delay="0"/>
                                  </p:stCondLst>
                                  <p:endCondLst>
                                    <p:cond evt="begin" delay="0">
                                      <p:tn val="13"/>
                                    </p:cond>
                                  </p:end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1"/>
                                        </p:tgtEl>
                                        <p:attrNameLst>
                                          <p:attrName>style.visibility</p:attrName>
                                        </p:attrNameLst>
                                      </p:cBhvr>
                                      <p:to>
                                        <p:strVal val="visible"/>
                                      </p:to>
                                    </p:set>
                                    <p:animEffect transition="in" filter="fade">
                                      <p:cBhvr>
                                        <p:cTn id="18" dur="500"/>
                                        <p:tgtEl>
                                          <p:spTgt spid="3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nodePh="1">
                                  <p:stCondLst>
                                    <p:cond delay="0"/>
                                  </p:stCondLst>
                                  <p:endCondLst>
                                    <p:cond evt="begin" delay="0">
                                      <p:tn val="24"/>
                                    </p:cond>
                                  </p:endCondLst>
                                  <p:childTnLst>
                                    <p:set>
                                      <p:cBhvr>
                                        <p:cTn id="25" dur="1" fill="hold">
                                          <p:stCondLst>
                                            <p:cond delay="0"/>
                                          </p:stCondLst>
                                        </p:cTn>
                                        <p:tgtEl>
                                          <p:spTgt spid="33"/>
                                        </p:tgtEl>
                                        <p:attrNameLst>
                                          <p:attrName>style.visibility</p:attrName>
                                        </p:attrNameLst>
                                      </p:cBhvr>
                                      <p:to>
                                        <p:strVal val="visible"/>
                                      </p:to>
                                    </p:set>
                                    <p:animEffect transition="in" filter="fade">
                                      <p:cBhvr>
                                        <p:cTn id="26" dur="500"/>
                                        <p:tgtEl>
                                          <p:spTgt spid="33"/>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5"/>
                                        </p:tgtEl>
                                        <p:attrNameLst>
                                          <p:attrName>style.visibility</p:attrName>
                                        </p:attrNameLst>
                                      </p:cBhvr>
                                      <p:to>
                                        <p:strVal val="visible"/>
                                      </p:to>
                                    </p:set>
                                    <p:animEffect transition="in" filter="fade">
                                      <p:cBhvr>
                                        <p:cTn id="29" dur="500"/>
                                        <p:tgtEl>
                                          <p:spTgt spid="3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par>
                                <p:cTn id="33" presetID="10" presetClass="entr" presetSubtype="0" fill="hold" grpId="0" nodeType="withEffect" nodePh="1">
                                  <p:stCondLst>
                                    <p:cond delay="0"/>
                                  </p:stCondLst>
                                  <p:endCondLst>
                                    <p:cond evt="begin" delay="0">
                                      <p:tn val="33"/>
                                    </p:cond>
                                  </p:endCondLst>
                                  <p:childTnLst>
                                    <p:set>
                                      <p:cBhvr>
                                        <p:cTn id="34" dur="1" fill="hold">
                                          <p:stCondLst>
                                            <p:cond delay="0"/>
                                          </p:stCondLst>
                                        </p:cTn>
                                        <p:tgtEl>
                                          <p:spTgt spid="36"/>
                                        </p:tgtEl>
                                        <p:attrNameLst>
                                          <p:attrName>style.visibility</p:attrName>
                                        </p:attrNameLst>
                                      </p:cBhvr>
                                      <p:to>
                                        <p:strVal val="visible"/>
                                      </p:to>
                                    </p:set>
                                    <p:animEffect transition="in" filter="fade">
                                      <p:cBhvr>
                                        <p:cTn id="35" dur="500"/>
                                        <p:tgtEl>
                                          <p:spTgt spid="3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38"/>
                                        </p:tgtEl>
                                        <p:attrNameLst>
                                          <p:attrName>style.visibility</p:attrName>
                                        </p:attrNameLst>
                                      </p:cBhvr>
                                      <p:to>
                                        <p:strVal val="visible"/>
                                      </p:to>
                                    </p:set>
                                    <p:animEffect transition="in" filter="fade">
                                      <p:cBhvr>
                                        <p:cTn id="38" dur="500"/>
                                        <p:tgtEl>
                                          <p:spTgt spid="38"/>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45"/>
                                        </p:tgtEl>
                                        <p:attrNameLst>
                                          <p:attrName>style.visibility</p:attrName>
                                        </p:attrNameLst>
                                      </p:cBhvr>
                                      <p:to>
                                        <p:strVal val="visible"/>
                                      </p:to>
                                    </p:set>
                                    <p:animEffect transition="in" filter="fade">
                                      <p:cBhvr>
                                        <p:cTn id="43" dur="500"/>
                                        <p:tgtEl>
                                          <p:spTgt spid="45"/>
                                        </p:tgtEl>
                                      </p:cBhvr>
                                    </p:animEffect>
                                  </p:childTnLst>
                                </p:cTn>
                              </p:par>
                              <p:par>
                                <p:cTn id="44" presetID="10" presetClass="entr" presetSubtype="0" fill="hold" grpId="0" nodeType="withEffect" nodePh="1">
                                  <p:stCondLst>
                                    <p:cond delay="0"/>
                                  </p:stCondLst>
                                  <p:endCondLst>
                                    <p:cond evt="begin" delay="0">
                                      <p:tn val="44"/>
                                    </p:cond>
                                  </p:endCondLst>
                                  <p:childTnLst>
                                    <p:set>
                                      <p:cBhvr>
                                        <p:cTn id="45" dur="1" fill="hold">
                                          <p:stCondLst>
                                            <p:cond delay="0"/>
                                          </p:stCondLst>
                                        </p:cTn>
                                        <p:tgtEl>
                                          <p:spTgt spid="53"/>
                                        </p:tgtEl>
                                        <p:attrNameLst>
                                          <p:attrName>style.visibility</p:attrName>
                                        </p:attrNameLst>
                                      </p:cBhvr>
                                      <p:to>
                                        <p:strVal val="visible"/>
                                      </p:to>
                                    </p:set>
                                    <p:animEffect transition="in" filter="fade">
                                      <p:cBhvr>
                                        <p:cTn id="46" dur="500"/>
                                        <p:tgtEl>
                                          <p:spTgt spid="53"/>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55"/>
                                        </p:tgtEl>
                                        <p:attrNameLst>
                                          <p:attrName>style.visibility</p:attrName>
                                        </p:attrNameLst>
                                      </p:cBhvr>
                                      <p:to>
                                        <p:strVal val="visible"/>
                                      </p:to>
                                    </p:set>
                                    <p:animEffect transition="in" filter="fade">
                                      <p:cBhvr>
                                        <p:cTn id="49" dur="500"/>
                                        <p:tgtEl>
                                          <p:spTgt spid="55"/>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fade">
                                      <p:cBhvr>
                                        <p:cTn id="52" dur="500"/>
                                        <p:tgtEl>
                                          <p:spTgt spid="54"/>
                                        </p:tgtEl>
                                      </p:cBhvr>
                                    </p:animEffect>
                                  </p:childTnLst>
                                </p:cTn>
                              </p:par>
                              <p:par>
                                <p:cTn id="53" presetID="10" presetClass="entr" presetSubtype="0" fill="hold" grpId="0" nodeType="withEffect" nodePh="1">
                                  <p:stCondLst>
                                    <p:cond delay="0"/>
                                  </p:stCondLst>
                                  <p:endCondLst>
                                    <p:cond evt="begin" delay="0">
                                      <p:tn val="53"/>
                                    </p:cond>
                                  </p:endCondLst>
                                  <p:childTnLst>
                                    <p:set>
                                      <p:cBhvr>
                                        <p:cTn id="54" dur="1" fill="hold">
                                          <p:stCondLst>
                                            <p:cond delay="0"/>
                                          </p:stCondLst>
                                        </p:cTn>
                                        <p:tgtEl>
                                          <p:spTgt spid="56"/>
                                        </p:tgtEl>
                                        <p:attrNameLst>
                                          <p:attrName>style.visibility</p:attrName>
                                        </p:attrNameLst>
                                      </p:cBhvr>
                                      <p:to>
                                        <p:strVal val="visible"/>
                                      </p:to>
                                    </p:set>
                                    <p:animEffect transition="in" filter="fade">
                                      <p:cBhvr>
                                        <p:cTn id="55" dur="500"/>
                                        <p:tgtEl>
                                          <p:spTgt spid="56"/>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57"/>
                                        </p:tgtEl>
                                        <p:attrNameLst>
                                          <p:attrName>style.visibility</p:attrName>
                                        </p:attrNameLst>
                                      </p:cBhvr>
                                      <p:to>
                                        <p:strVal val="visible"/>
                                      </p:to>
                                    </p:set>
                                    <p:animEffect transition="in" filter="fade">
                                      <p:cBhvr>
                                        <p:cTn id="58" dur="500"/>
                                        <p:tgtEl>
                                          <p:spTgt spid="57"/>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nodePh="1">
                                  <p:stCondLst>
                                    <p:cond delay="0"/>
                                  </p:stCondLst>
                                  <p:endCondLst>
                                    <p:cond evt="begin" delay="0">
                                      <p:tn val="61"/>
                                    </p:cond>
                                  </p:endCondLst>
                                  <p:childTnLst>
                                    <p:set>
                                      <p:cBhvr>
                                        <p:cTn id="62" dur="1" fill="hold">
                                          <p:stCondLst>
                                            <p:cond delay="0"/>
                                          </p:stCondLst>
                                        </p:cTn>
                                        <p:tgtEl>
                                          <p:spTgt spid="58"/>
                                        </p:tgtEl>
                                        <p:attrNameLst>
                                          <p:attrName>style.visibility</p:attrName>
                                        </p:attrNameLst>
                                      </p:cBhvr>
                                      <p:to>
                                        <p:strVal val="visible"/>
                                      </p:to>
                                    </p:set>
                                    <p:animEffect transition="in" filter="fade">
                                      <p:cBhvr>
                                        <p:cTn id="63" dur="500"/>
                                        <p:tgtEl>
                                          <p:spTgt spid="58"/>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60"/>
                                        </p:tgtEl>
                                        <p:attrNameLst>
                                          <p:attrName>style.visibility</p:attrName>
                                        </p:attrNameLst>
                                      </p:cBhvr>
                                      <p:to>
                                        <p:strVal val="visible"/>
                                      </p:to>
                                    </p:set>
                                    <p:animEffect transition="in" filter="fade">
                                      <p:cBhvr>
                                        <p:cTn id="66" dur="500"/>
                                        <p:tgtEl>
                                          <p:spTgt spid="60"/>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59"/>
                                        </p:tgtEl>
                                        <p:attrNameLst>
                                          <p:attrName>style.visibility</p:attrName>
                                        </p:attrNameLst>
                                      </p:cBhvr>
                                      <p:to>
                                        <p:strVal val="visible"/>
                                      </p:to>
                                    </p:set>
                                    <p:animEffect transition="in" filter="fade">
                                      <p:cBhvr>
                                        <p:cTn id="69" dur="500"/>
                                        <p:tgtEl>
                                          <p:spTgt spid="59"/>
                                        </p:tgtEl>
                                      </p:cBhvr>
                                    </p:animEffect>
                                  </p:childTnLst>
                                </p:cTn>
                              </p:par>
                              <p:par>
                                <p:cTn id="70" presetID="10" presetClass="entr" presetSubtype="0" fill="hold" grpId="0" nodeType="withEffect" nodePh="1">
                                  <p:stCondLst>
                                    <p:cond delay="0"/>
                                  </p:stCondLst>
                                  <p:endCondLst>
                                    <p:cond evt="begin" delay="0">
                                      <p:tn val="70"/>
                                    </p:cond>
                                  </p:endCondLst>
                                  <p:childTnLst>
                                    <p:set>
                                      <p:cBhvr>
                                        <p:cTn id="71" dur="1" fill="hold">
                                          <p:stCondLst>
                                            <p:cond delay="0"/>
                                          </p:stCondLst>
                                        </p:cTn>
                                        <p:tgtEl>
                                          <p:spTgt spid="61"/>
                                        </p:tgtEl>
                                        <p:attrNameLst>
                                          <p:attrName>style.visibility</p:attrName>
                                        </p:attrNameLst>
                                      </p:cBhvr>
                                      <p:to>
                                        <p:strVal val="visible"/>
                                      </p:to>
                                    </p:set>
                                    <p:animEffect transition="in" filter="fade">
                                      <p:cBhvr>
                                        <p:cTn id="72" dur="500"/>
                                        <p:tgtEl>
                                          <p:spTgt spid="61"/>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62"/>
                                        </p:tgtEl>
                                        <p:attrNameLst>
                                          <p:attrName>style.visibility</p:attrName>
                                        </p:attrNameLst>
                                      </p:cBhvr>
                                      <p:to>
                                        <p:strVal val="visible"/>
                                      </p:to>
                                    </p:set>
                                    <p:animEffect transition="in" filter="fade">
                                      <p:cBhvr>
                                        <p:cTn id="75" dur="500"/>
                                        <p:tgtEl>
                                          <p:spTgt spid="62"/>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7"/>
                                        </p:tgtEl>
                                        <p:attrNameLst>
                                          <p:attrName>style.visibility</p:attrName>
                                        </p:attrNameLst>
                                      </p:cBhvr>
                                      <p:to>
                                        <p:strVal val="visible"/>
                                      </p:to>
                                    </p:set>
                                    <p:animEffect transition="in" filter="fade">
                                      <p:cBhvr>
                                        <p:cTn id="78" dur="500"/>
                                        <p:tgtEl>
                                          <p:spTgt spid="7"/>
                                        </p:tgtEl>
                                      </p:cBhvr>
                                    </p:animEffect>
                                  </p:childTnLst>
                                </p:cTn>
                              </p:par>
                              <p:par>
                                <p:cTn id="79" presetID="10" presetClass="entr" presetSubtype="0" fill="hold" nodeType="withEffect">
                                  <p:stCondLst>
                                    <p:cond delay="0"/>
                                  </p:stCondLst>
                                  <p:childTnLst>
                                    <p:set>
                                      <p:cBhvr>
                                        <p:cTn id="80" dur="1" fill="hold">
                                          <p:stCondLst>
                                            <p:cond delay="0"/>
                                          </p:stCondLst>
                                        </p:cTn>
                                        <p:tgtEl>
                                          <p:spTgt spid="15"/>
                                        </p:tgtEl>
                                        <p:attrNameLst>
                                          <p:attrName>style.visibility</p:attrName>
                                        </p:attrNameLst>
                                      </p:cBhvr>
                                      <p:to>
                                        <p:strVal val="visible"/>
                                      </p:to>
                                    </p:set>
                                    <p:animEffect transition="in" filter="fade">
                                      <p:cBhvr>
                                        <p:cTn id="8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9" grpId="0"/>
      <p:bldP spid="20" grpId="0"/>
      <p:bldP spid="28" grpId="0"/>
      <p:bldP spid="30" grpId="0"/>
      <p:bldP spid="31" grpId="0"/>
      <p:bldP spid="33" grpId="0"/>
      <p:bldP spid="34" grpId="0"/>
      <p:bldP spid="35" grpId="0"/>
      <p:bldP spid="36" grpId="0"/>
      <p:bldP spid="38" grpId="0"/>
      <p:bldP spid="53" grpId="0"/>
      <p:bldP spid="54" grpId="0"/>
      <p:bldP spid="55" grpId="0"/>
      <p:bldP spid="56" grpId="0"/>
      <p:bldP spid="57" grpId="0"/>
      <p:bldP spid="58" grpId="0"/>
      <p:bldP spid="59" grpId="0"/>
      <p:bldP spid="60" grpId="0"/>
      <p:bldP spid="61" grpId="0"/>
      <p:bldP spid="6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idx="1"/>
          </p:nvPr>
        </p:nvSpPr>
        <p:spPr/>
        <p:txBody>
          <a:bodyPr/>
          <a:lstStyle/>
          <a:p>
            <a:endParaRPr lang="de-CH" dirty="0"/>
          </a:p>
        </p:txBody>
      </p:sp>
      <p:sp>
        <p:nvSpPr>
          <p:cNvPr id="12" name="Titel 1"/>
          <p:cNvSpPr>
            <a:spLocks noGrp="1"/>
          </p:cNvSpPr>
          <p:nvPr>
            <p:ph type="title"/>
          </p:nvPr>
        </p:nvSpPr>
        <p:spPr/>
        <p:txBody>
          <a:bodyPr>
            <a:noAutofit/>
          </a:bodyPr>
          <a:lstStyle/>
          <a:p>
            <a:r>
              <a:rPr lang="de-DE" dirty="0"/>
              <a:t>Corporate Tax  - Tax Rates </a:t>
            </a:r>
            <a:endParaRPr lang="en-US" dirty="0"/>
          </a:p>
        </p:txBody>
      </p:sp>
      <p:sp>
        <p:nvSpPr>
          <p:cNvPr id="38" name="Textplatzhalter 9"/>
          <p:cNvSpPr>
            <a:spLocks noGrp="1"/>
          </p:cNvSpPr>
          <p:nvPr>
            <p:ph type="body" sz="quarter" idx="4294967295"/>
          </p:nvPr>
        </p:nvSpPr>
        <p:spPr>
          <a:xfrm>
            <a:off x="0" y="1058863"/>
            <a:ext cx="11449050" cy="5008562"/>
          </a:xfrm>
        </p:spPr>
        <p:txBody>
          <a:bodyPr>
            <a:normAutofit/>
          </a:bodyPr>
          <a:lstStyle/>
          <a:p>
            <a:pPr lvl="1"/>
            <a:endParaRPr lang="de-DE" dirty="0"/>
          </a:p>
          <a:p>
            <a:pPr lvl="2"/>
            <a:endParaRPr lang="de-DE" dirty="0"/>
          </a:p>
          <a:p>
            <a:pPr lvl="2"/>
            <a:endParaRPr lang="de-DE" dirty="0"/>
          </a:p>
          <a:p>
            <a:pPr lvl="2"/>
            <a:endParaRPr lang="de-DE" dirty="0"/>
          </a:p>
          <a:p>
            <a:pPr lvl="1"/>
            <a:endParaRPr lang="de-DE" dirty="0"/>
          </a:p>
          <a:p>
            <a:pPr lvl="1"/>
            <a:endParaRPr lang="de-DE" dirty="0"/>
          </a:p>
          <a:p>
            <a:pPr lvl="2"/>
            <a:endParaRPr lang="de-DE" dirty="0"/>
          </a:p>
        </p:txBody>
      </p:sp>
      <p:sp>
        <p:nvSpPr>
          <p:cNvPr id="39" name="AutoShape 3"/>
          <p:cNvSpPr>
            <a:spLocks noChangeArrowheads="1"/>
          </p:cNvSpPr>
          <p:nvPr/>
        </p:nvSpPr>
        <p:spPr bwMode="auto">
          <a:xfrm>
            <a:off x="1975407" y="2924944"/>
            <a:ext cx="864000" cy="288000"/>
          </a:xfrm>
          <a:prstGeom prst="homePlate">
            <a:avLst>
              <a:gd name="adj" fmla="val 32251"/>
            </a:avLst>
          </a:prstGeom>
          <a:ln/>
          <a:extLst/>
        </p:spPr>
        <p:style>
          <a:lnRef idx="1">
            <a:schemeClr val="accent1"/>
          </a:lnRef>
          <a:fillRef idx="3">
            <a:schemeClr val="accent1"/>
          </a:fillRef>
          <a:effectRef idx="2">
            <a:schemeClr val="accent1"/>
          </a:effectRef>
          <a:fontRef idx="minor">
            <a:schemeClr val="lt1"/>
          </a:fontRef>
        </p:style>
        <p:txBody>
          <a:bodyPr wrap="none" lIns="90000" tIns="43200" rIns="90000" bIns="43200" anchor="ctr"/>
          <a:lstStyle/>
          <a:p>
            <a:pPr marL="0" marR="0" lvl="0" indent="0" algn="l" defTabSz="330200" rtl="0" eaLnBrk="1" fontAlgn="auto" latinLnBrk="0" hangingPunct="1">
              <a:lnSpc>
                <a:spcPct val="95000"/>
              </a:lnSpc>
              <a:spcBef>
                <a:spcPct val="20000"/>
              </a:spcBef>
              <a:spcAft>
                <a:spcPts val="0"/>
              </a:spcAft>
              <a:buClr>
                <a:srgbClr val="00686D"/>
              </a:buClr>
              <a:buSzTx/>
              <a:buFontTx/>
              <a:buNone/>
              <a:tabLst>
                <a:tab pos="8521700" algn="r"/>
              </a:tabLst>
              <a:defRPr/>
            </a:pPr>
            <a:r>
              <a:rPr kumimoji="0" lang="de-DE" sz="1100" b="0" i="0" u="none" strike="noStrike" kern="1200" cap="none" spc="0" normalizeH="0" baseline="0" noProof="0" dirty="0">
                <a:ln>
                  <a:noFill/>
                </a:ln>
                <a:solidFill>
                  <a:srgbClr val="000000"/>
                </a:solidFill>
                <a:effectLst/>
                <a:uLnTx/>
                <a:uFillTx/>
                <a:latin typeface="Arial"/>
                <a:ea typeface="+mn-ea"/>
                <a:cs typeface="+mn-cs"/>
              </a:rPr>
              <a:t>Base </a:t>
            </a:r>
          </a:p>
        </p:txBody>
      </p:sp>
      <p:sp>
        <p:nvSpPr>
          <p:cNvPr id="62" name="AutoShape 4"/>
          <p:cNvSpPr>
            <a:spLocks noChangeArrowheads="1"/>
          </p:cNvSpPr>
          <p:nvPr/>
        </p:nvSpPr>
        <p:spPr bwMode="auto">
          <a:xfrm>
            <a:off x="1939407" y="1595486"/>
            <a:ext cx="900000" cy="252000"/>
          </a:xfrm>
          <a:prstGeom prst="homePlate">
            <a:avLst>
              <a:gd name="adj" fmla="val 32173"/>
            </a:avLst>
          </a:prstGeom>
          <a:ln/>
          <a:extLst/>
        </p:spPr>
        <p:style>
          <a:lnRef idx="1">
            <a:schemeClr val="accent1"/>
          </a:lnRef>
          <a:fillRef idx="3">
            <a:schemeClr val="accent1"/>
          </a:fillRef>
          <a:effectRef idx="2">
            <a:schemeClr val="accent1"/>
          </a:effectRef>
          <a:fontRef idx="minor">
            <a:schemeClr val="lt1"/>
          </a:fontRef>
        </p:style>
        <p:txBody>
          <a:bodyPr wrap="none" lIns="90000" tIns="43200" rIns="90000" bIns="4320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prstClr val="white"/>
                </a:solidFill>
                <a:effectLst/>
                <a:uLnTx/>
                <a:uFillTx/>
                <a:latin typeface="Arial"/>
                <a:ea typeface="+mn-ea"/>
                <a:cs typeface="+mn-cs"/>
              </a:rPr>
              <a:t>Tax</a:t>
            </a:r>
            <a:r>
              <a:rPr kumimoji="0" lang="de-DE" sz="1400" b="0" i="0" u="none" strike="noStrike" kern="1200" cap="none" spc="0" normalizeH="0" baseline="0" noProof="0" dirty="0">
                <a:ln>
                  <a:noFill/>
                </a:ln>
                <a:solidFill>
                  <a:prstClr val="white"/>
                </a:solidFill>
                <a:effectLst/>
                <a:uLnTx/>
                <a:uFillTx/>
                <a:latin typeface="Arial"/>
                <a:ea typeface="+mn-ea"/>
                <a:cs typeface="+mn-cs"/>
              </a:rPr>
              <a:t> </a:t>
            </a:r>
            <a:r>
              <a:rPr kumimoji="0" lang="de-DE" sz="1400" b="0" i="0" u="none" strike="noStrike" kern="1200" cap="none" spc="0" normalizeH="0" baseline="0" noProof="0" dirty="0" err="1">
                <a:ln>
                  <a:noFill/>
                </a:ln>
                <a:solidFill>
                  <a:prstClr val="white"/>
                </a:solidFill>
                <a:effectLst/>
                <a:uLnTx/>
                <a:uFillTx/>
                <a:latin typeface="Arial"/>
                <a:ea typeface="+mn-ea"/>
                <a:cs typeface="+mn-cs"/>
              </a:rPr>
              <a:t>rates</a:t>
            </a:r>
            <a:r>
              <a:rPr kumimoji="0" lang="de-DE" sz="1400" b="0" i="0" u="none" strike="noStrike" kern="1200" cap="none" spc="0" normalizeH="0" baseline="0" noProof="0" dirty="0">
                <a:ln>
                  <a:noFill/>
                </a:ln>
                <a:solidFill>
                  <a:prstClr val="white"/>
                </a:solidFill>
                <a:effectLst/>
                <a:uLnTx/>
                <a:uFillTx/>
                <a:latin typeface="Arial"/>
                <a:ea typeface="+mn-ea"/>
                <a:cs typeface="+mn-cs"/>
              </a:rPr>
              <a:t> </a:t>
            </a:r>
          </a:p>
        </p:txBody>
      </p:sp>
      <p:sp>
        <p:nvSpPr>
          <p:cNvPr id="63" name="Freeform 6"/>
          <p:cNvSpPr>
            <a:spLocks/>
          </p:cNvSpPr>
          <p:nvPr/>
        </p:nvSpPr>
        <p:spPr bwMode="auto">
          <a:xfrm>
            <a:off x="2839407" y="1715099"/>
            <a:ext cx="3528000" cy="215444"/>
          </a:xfrm>
          <a:custGeom>
            <a:avLst/>
            <a:gdLst>
              <a:gd name="T0" fmla="*/ 0 w 4544"/>
              <a:gd name="T1" fmla="*/ 0 h 375"/>
              <a:gd name="T2" fmla="*/ 2147483647 w 4544"/>
              <a:gd name="T3" fmla="*/ 0 h 375"/>
              <a:gd name="T4" fmla="*/ 2147483647 w 4544"/>
              <a:gd name="T5" fmla="*/ 2147483647 h 375"/>
              <a:gd name="T6" fmla="*/ 0 60000 65536"/>
              <a:gd name="T7" fmla="*/ 0 60000 65536"/>
              <a:gd name="T8" fmla="*/ 0 60000 65536"/>
              <a:gd name="T9" fmla="*/ 0 w 4544"/>
              <a:gd name="T10" fmla="*/ 0 h 375"/>
              <a:gd name="T11" fmla="*/ 4544 w 4544"/>
              <a:gd name="T12" fmla="*/ 375 h 375"/>
            </a:gdLst>
            <a:ahLst/>
            <a:cxnLst>
              <a:cxn ang="T6">
                <a:pos x="T0" y="T1"/>
              </a:cxn>
              <a:cxn ang="T7">
                <a:pos x="T2" y="T3"/>
              </a:cxn>
              <a:cxn ang="T8">
                <a:pos x="T4" y="T5"/>
              </a:cxn>
            </a:cxnLst>
            <a:rect l="T9" t="T10" r="T11" b="T12"/>
            <a:pathLst>
              <a:path w="4544" h="375">
                <a:moveTo>
                  <a:pt x="0" y="0"/>
                </a:moveTo>
                <a:lnTo>
                  <a:pt x="4544" y="0"/>
                </a:lnTo>
                <a:lnTo>
                  <a:pt x="4543" y="375"/>
                </a:lnTo>
              </a:path>
            </a:pathLst>
          </a:custGeom>
          <a:noFill/>
          <a:ln w="22225">
            <a:solidFill>
              <a:srgbClr val="68B500"/>
            </a:solidFill>
            <a:round/>
            <a:headEnd/>
            <a:tailEnd/>
          </a:ln>
          <a:extLst>
            <a:ext uri="{909E8E84-426E-40DD-AFC4-6F175D3DCCD1}">
              <a14:hiddenFill xmlns:a14="http://schemas.microsoft.com/office/drawing/2010/main">
                <a:solidFill>
                  <a:srgbClr val="FFFFFF"/>
                </a:solidFill>
              </a14:hiddenFill>
            </a:ext>
          </a:extLst>
        </p:spPr>
        <p:txBody>
          <a:bodyPr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sp>
        <p:nvSpPr>
          <p:cNvPr id="64" name="Text Box 7"/>
          <p:cNvSpPr txBox="1">
            <a:spLocks noChangeArrowheads="1"/>
          </p:cNvSpPr>
          <p:nvPr/>
        </p:nvSpPr>
        <p:spPr bwMode="auto">
          <a:xfrm>
            <a:off x="2839408" y="3101080"/>
            <a:ext cx="265798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eaLnBrk="0" hangingPunct="0">
              <a:defRPr sz="1200" b="1">
                <a:solidFill>
                  <a:schemeClr val="tx1"/>
                </a:solidFill>
                <a:latin typeface="Arial" charset="0"/>
              </a:defRPr>
            </a:lvl1pPr>
            <a:lvl2pPr marL="742950" indent="-285750" eaLnBrk="0" hangingPunct="0">
              <a:defRPr sz="1200" b="1">
                <a:solidFill>
                  <a:schemeClr val="tx1"/>
                </a:solidFill>
                <a:latin typeface="Arial" charset="0"/>
              </a:defRPr>
            </a:lvl2pPr>
            <a:lvl3pPr marL="1143000" indent="-228600" eaLnBrk="0" hangingPunct="0">
              <a:defRPr sz="1200" b="1">
                <a:solidFill>
                  <a:schemeClr val="tx1"/>
                </a:solidFill>
                <a:latin typeface="Arial" charset="0"/>
              </a:defRPr>
            </a:lvl3pPr>
            <a:lvl4pPr marL="1600200" indent="-228600" eaLnBrk="0" hangingPunct="0">
              <a:defRPr sz="1200" b="1">
                <a:solidFill>
                  <a:schemeClr val="tx1"/>
                </a:solidFill>
                <a:latin typeface="Arial" charset="0"/>
              </a:defRPr>
            </a:lvl4pPr>
            <a:lvl5pPr marL="2057400" indent="-228600" eaLnBrk="0" hangingPunct="0">
              <a:defRPr sz="1200" b="1">
                <a:solidFill>
                  <a:schemeClr val="tx1"/>
                </a:solidFill>
                <a:latin typeface="Arial" charset="0"/>
              </a:defRPr>
            </a:lvl5pPr>
            <a:lvl6pPr marL="2514600" indent="-228600" eaLnBrk="0" fontAlgn="base" hangingPunct="0">
              <a:spcBef>
                <a:spcPct val="0"/>
              </a:spcBef>
              <a:spcAft>
                <a:spcPct val="0"/>
              </a:spcAft>
              <a:defRPr sz="1200" b="1">
                <a:solidFill>
                  <a:schemeClr val="tx1"/>
                </a:solidFill>
                <a:latin typeface="Arial" charset="0"/>
              </a:defRPr>
            </a:lvl6pPr>
            <a:lvl7pPr marL="2971800" indent="-228600" eaLnBrk="0" fontAlgn="base" hangingPunct="0">
              <a:spcBef>
                <a:spcPct val="0"/>
              </a:spcBef>
              <a:spcAft>
                <a:spcPct val="0"/>
              </a:spcAft>
              <a:defRPr sz="1200" b="1">
                <a:solidFill>
                  <a:schemeClr val="tx1"/>
                </a:solidFill>
                <a:latin typeface="Arial" charset="0"/>
              </a:defRPr>
            </a:lvl7pPr>
            <a:lvl8pPr marL="3429000" indent="-228600" eaLnBrk="0" fontAlgn="base" hangingPunct="0">
              <a:spcBef>
                <a:spcPct val="0"/>
              </a:spcBef>
              <a:spcAft>
                <a:spcPct val="0"/>
              </a:spcAft>
              <a:defRPr sz="1200" b="1">
                <a:solidFill>
                  <a:schemeClr val="tx1"/>
                </a:solidFill>
                <a:latin typeface="Arial" charset="0"/>
              </a:defRPr>
            </a:lvl8pPr>
            <a:lvl9pPr marL="3886200" indent="-228600" eaLnBrk="0" fontAlgn="base" hangingPunct="0">
              <a:spcBef>
                <a:spcPct val="0"/>
              </a:spcBef>
              <a:spcAft>
                <a:spcPct val="0"/>
              </a:spcAft>
              <a:defRPr sz="1200" b="1">
                <a:solidFill>
                  <a:schemeClr val="tx1"/>
                </a:solidFill>
                <a:latin typeface="Arial" charset="0"/>
              </a:defRPr>
            </a:lvl9pPr>
          </a:lstStyle>
          <a:p>
            <a:pPr marL="0" marR="0" lvl="0" indent="0" algn="l" defTabSz="914400" rtl="0" eaLnBrk="1" fontAlgn="auto" latinLnBrk="0" hangingPunct="1">
              <a:lnSpc>
                <a:spcPct val="100000"/>
              </a:lnSpc>
              <a:spcBef>
                <a:spcPct val="50000"/>
              </a:spcBef>
              <a:spcAft>
                <a:spcPts val="0"/>
              </a:spcAft>
              <a:buClrTx/>
              <a:buSzTx/>
              <a:buFontTx/>
              <a:buNone/>
              <a:tabLst/>
              <a:defRPr/>
            </a:pPr>
            <a:r>
              <a:rPr kumimoji="0" lang="de-DE" altLang="zh-CN" sz="1200" b="0" i="0" u="none" strike="noStrike" kern="1200" cap="none" spc="0" normalizeH="0" baseline="0" noProof="0" dirty="0">
                <a:ln>
                  <a:noFill/>
                </a:ln>
                <a:solidFill>
                  <a:srgbClr val="000000"/>
                </a:solidFill>
                <a:effectLst/>
                <a:uLnTx/>
                <a:uFillTx/>
                <a:latin typeface="Arial" charset="0"/>
                <a:ea typeface="SimSun" pitchFamily="2" charset="-122"/>
                <a:cs typeface="+mn-cs"/>
              </a:rPr>
              <a:t>Worldwide Business Income</a:t>
            </a:r>
          </a:p>
        </p:txBody>
      </p:sp>
      <p:sp>
        <p:nvSpPr>
          <p:cNvPr id="65" name="Freeform 8"/>
          <p:cNvSpPr>
            <a:spLocks/>
          </p:cNvSpPr>
          <p:nvPr/>
        </p:nvSpPr>
        <p:spPr bwMode="auto">
          <a:xfrm>
            <a:off x="2839407" y="3056937"/>
            <a:ext cx="3564000" cy="215444"/>
          </a:xfrm>
          <a:custGeom>
            <a:avLst/>
            <a:gdLst>
              <a:gd name="T0" fmla="*/ 0 w 4544"/>
              <a:gd name="T1" fmla="*/ 0 h 375"/>
              <a:gd name="T2" fmla="*/ 2147483647 w 4544"/>
              <a:gd name="T3" fmla="*/ 0 h 375"/>
              <a:gd name="T4" fmla="*/ 2147483647 w 4544"/>
              <a:gd name="T5" fmla="*/ 2147483647 h 375"/>
              <a:gd name="T6" fmla="*/ 0 60000 65536"/>
              <a:gd name="T7" fmla="*/ 0 60000 65536"/>
              <a:gd name="T8" fmla="*/ 0 60000 65536"/>
              <a:gd name="T9" fmla="*/ 0 w 4544"/>
              <a:gd name="T10" fmla="*/ 0 h 375"/>
              <a:gd name="T11" fmla="*/ 4544 w 4544"/>
              <a:gd name="T12" fmla="*/ 375 h 375"/>
            </a:gdLst>
            <a:ahLst/>
            <a:cxnLst>
              <a:cxn ang="T6">
                <a:pos x="T0" y="T1"/>
              </a:cxn>
              <a:cxn ang="T7">
                <a:pos x="T2" y="T3"/>
              </a:cxn>
              <a:cxn ang="T8">
                <a:pos x="T4" y="T5"/>
              </a:cxn>
            </a:cxnLst>
            <a:rect l="T9" t="T10" r="T11" b="T12"/>
            <a:pathLst>
              <a:path w="4544" h="375">
                <a:moveTo>
                  <a:pt x="0" y="0"/>
                </a:moveTo>
                <a:lnTo>
                  <a:pt x="4544" y="0"/>
                </a:lnTo>
                <a:lnTo>
                  <a:pt x="4543" y="375"/>
                </a:lnTo>
              </a:path>
            </a:pathLst>
          </a:custGeom>
          <a:noFill/>
          <a:ln w="22225">
            <a:solidFill>
              <a:srgbClr val="68B500"/>
            </a:solidFill>
            <a:round/>
            <a:headEnd/>
            <a:tailEnd/>
          </a:ln>
          <a:extLst>
            <a:ext uri="{909E8E84-426E-40DD-AFC4-6F175D3DCCD1}">
              <a14:hiddenFill xmlns:a14="http://schemas.microsoft.com/office/drawing/2010/main">
                <a:solidFill>
                  <a:srgbClr val="FFFFFF"/>
                </a:solidFill>
              </a14:hiddenFill>
            </a:ext>
          </a:extLst>
        </p:spPr>
        <p:txBody>
          <a:bodyPr wrap="square" lIns="0" tIns="0" rIns="0" bIns="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66" name="Group 10"/>
          <p:cNvGraphicFramePr>
            <a:graphicFrameLocks noGrp="1"/>
          </p:cNvGraphicFramePr>
          <p:nvPr>
            <p:extLst>
              <p:ext uri="{D42A27DB-BD31-4B8C-83A1-F6EECF244321}">
                <p14:modId xmlns:p14="http://schemas.microsoft.com/office/powerpoint/2010/main" val="1012646345"/>
              </p:ext>
            </p:extLst>
          </p:nvPr>
        </p:nvGraphicFramePr>
        <p:xfrm>
          <a:off x="2872656" y="1721486"/>
          <a:ext cx="3583384" cy="1016160"/>
        </p:xfrm>
        <a:graphic>
          <a:graphicData uri="http://schemas.openxmlformats.org/drawingml/2006/table">
            <a:tbl>
              <a:tblPr/>
              <a:tblGrid>
                <a:gridCol w="2886934">
                  <a:extLst>
                    <a:ext uri="{9D8B030D-6E8A-4147-A177-3AD203B41FA5}">
                      <a16:colId xmlns:a16="http://schemas.microsoft.com/office/drawing/2014/main" val="20000"/>
                    </a:ext>
                  </a:extLst>
                </a:gridCol>
                <a:gridCol w="696450">
                  <a:extLst>
                    <a:ext uri="{9D8B030D-6E8A-4147-A177-3AD203B41FA5}">
                      <a16:colId xmlns:a16="http://schemas.microsoft.com/office/drawing/2014/main" val="20001"/>
                    </a:ext>
                  </a:extLst>
                </a:gridCol>
              </a:tblGrid>
              <a:tr h="238738">
                <a:tc>
                  <a:txBody>
                    <a:bodyPr/>
                    <a:lstStyle/>
                    <a:p>
                      <a:pPr marL="0" marR="0" lvl="0" indent="0" algn="l" defTabSz="800100" rtl="0" eaLnBrk="0" fontAlgn="base" latinLnBrk="0" hangingPunct="0">
                        <a:lnSpc>
                          <a:spcPct val="100000"/>
                        </a:lnSpc>
                        <a:spcBef>
                          <a:spcPct val="20000"/>
                        </a:spcBef>
                        <a:spcAft>
                          <a:spcPct val="0"/>
                        </a:spcAft>
                        <a:buClr>
                          <a:srgbClr val="00686D"/>
                        </a:buClr>
                        <a:buSzTx/>
                        <a:buFont typeface="Wingdings" pitchFamily="2" charset="2"/>
                        <a:buNone/>
                        <a:tabLst/>
                      </a:pPr>
                      <a:r>
                        <a:rPr kumimoji="0" lang="en-GB" sz="1100" b="0" i="0" u="none" strike="noStrike" cap="none" normalizeH="0" baseline="0" dirty="0">
                          <a:ln>
                            <a:noFill/>
                          </a:ln>
                          <a:solidFill>
                            <a:schemeClr val="tx1"/>
                          </a:solidFill>
                          <a:effectLst/>
                          <a:latin typeface="Arial" charset="0"/>
                        </a:rPr>
                        <a:t> Income tax</a:t>
                      </a:r>
                    </a:p>
                  </a:txBody>
                  <a:tcPr marL="90000" marR="90000" marT="43200" marB="43200" horzOverflow="overflow">
                    <a:lnL cap="flat">
                      <a:noFill/>
                    </a:lnL>
                    <a:lnR>
                      <a:noFill/>
                    </a:lnR>
                    <a:lnT cap="flat">
                      <a:noFill/>
                    </a:lnT>
                    <a:lnB>
                      <a:noFill/>
                    </a:lnB>
                    <a:lnTlToBr>
                      <a:noFill/>
                    </a:lnTlToBr>
                    <a:lnBlToTr>
                      <a:noFill/>
                    </a:lnBlToTr>
                    <a:noFill/>
                  </a:tcPr>
                </a:tc>
                <a:tc>
                  <a:txBody>
                    <a:bodyPr/>
                    <a:lstStyle/>
                    <a:p>
                      <a:pPr marL="0" marR="0" lvl="0" indent="0" algn="r" defTabSz="800100" rtl="0" eaLnBrk="0" fontAlgn="base" latinLnBrk="0" hangingPunct="0">
                        <a:lnSpc>
                          <a:spcPct val="100000"/>
                        </a:lnSpc>
                        <a:spcBef>
                          <a:spcPct val="20000"/>
                        </a:spcBef>
                        <a:spcAft>
                          <a:spcPct val="0"/>
                        </a:spcAft>
                        <a:buClr>
                          <a:srgbClr val="00686D"/>
                        </a:buClr>
                        <a:buSzTx/>
                        <a:buFont typeface="Wingdings" pitchFamily="2" charset="2"/>
                        <a:buNone/>
                        <a:tabLst/>
                      </a:pPr>
                      <a:r>
                        <a:rPr kumimoji="0" lang="en-GB" sz="1100" b="0" i="0" u="none" strike="noStrike" cap="none" normalizeH="0" baseline="0" dirty="0">
                          <a:ln>
                            <a:noFill/>
                          </a:ln>
                          <a:solidFill>
                            <a:schemeClr val="tx1"/>
                          </a:solidFill>
                          <a:effectLst/>
                          <a:latin typeface="Arial" charset="0"/>
                        </a:rPr>
                        <a:t>25 %</a:t>
                      </a:r>
                    </a:p>
                  </a:txBody>
                  <a:tcPr marL="90000" marR="90000" marT="43200" marB="43200" horzOverflow="overflow">
                    <a:lnL>
                      <a:noFill/>
                    </a:lnL>
                    <a:lnR cap="flat">
                      <a:noFill/>
                    </a:lnR>
                    <a:lnT cap="flat">
                      <a:noFill/>
                    </a:lnT>
                    <a:lnB>
                      <a:noFill/>
                    </a:lnB>
                    <a:lnTlToBr>
                      <a:noFill/>
                    </a:lnTlToBr>
                    <a:lnBlToTr>
                      <a:noFill/>
                    </a:lnBlToTr>
                    <a:noFill/>
                  </a:tcPr>
                </a:tc>
                <a:extLst>
                  <a:ext uri="{0D108BD9-81ED-4DB2-BD59-A6C34878D82A}">
                    <a16:rowId xmlns:a16="http://schemas.microsoft.com/office/drawing/2014/main" val="10000"/>
                  </a:ext>
                </a:extLst>
              </a:tr>
              <a:tr h="238738">
                <a:tc>
                  <a:txBody>
                    <a:bodyPr/>
                    <a:lstStyle/>
                    <a:p>
                      <a:pPr marL="0" marR="0" lvl="0" indent="0" algn="l" defTabSz="800100" rtl="0" eaLnBrk="0" fontAlgn="base" latinLnBrk="0" hangingPunct="0">
                        <a:lnSpc>
                          <a:spcPct val="100000"/>
                        </a:lnSpc>
                        <a:spcBef>
                          <a:spcPct val="20000"/>
                        </a:spcBef>
                        <a:spcAft>
                          <a:spcPct val="0"/>
                        </a:spcAft>
                        <a:buClr>
                          <a:srgbClr val="00686D"/>
                        </a:buClr>
                        <a:buSzTx/>
                        <a:buFont typeface="Wingdings" pitchFamily="2" charset="2"/>
                        <a:buNone/>
                        <a:tabLst/>
                      </a:pPr>
                      <a:r>
                        <a:rPr kumimoji="0" lang="en-GB" sz="1100" b="0" i="0" u="none" strike="noStrike" cap="none" normalizeH="0" baseline="0" dirty="0">
                          <a:ln>
                            <a:noFill/>
                          </a:ln>
                          <a:solidFill>
                            <a:schemeClr val="tx1"/>
                          </a:solidFill>
                          <a:effectLst/>
                          <a:latin typeface="Arial" charset="0"/>
                        </a:rPr>
                        <a:t> Surcharge &amp; </a:t>
                      </a:r>
                    </a:p>
                  </a:txBody>
                  <a:tcPr marL="90000" marR="90000" marT="43200" marB="43200" horzOverflow="overflow">
                    <a:lnL cap="flat">
                      <a:noFill/>
                    </a:lnL>
                    <a:lnR>
                      <a:noFill/>
                    </a:lnR>
                    <a:lnT>
                      <a:noFill/>
                    </a:lnT>
                    <a:lnB>
                      <a:noFill/>
                    </a:lnB>
                    <a:lnTlToBr>
                      <a:noFill/>
                    </a:lnTlToBr>
                    <a:lnBlToTr>
                      <a:noFill/>
                    </a:lnBlToTr>
                    <a:noFill/>
                  </a:tcPr>
                </a:tc>
                <a:tc>
                  <a:txBody>
                    <a:bodyPr/>
                    <a:lstStyle/>
                    <a:p>
                      <a:pPr marL="0" marR="0" lvl="0" indent="0" algn="r" defTabSz="800100" rtl="0" eaLnBrk="0" fontAlgn="base" latinLnBrk="0" hangingPunct="0">
                        <a:lnSpc>
                          <a:spcPct val="100000"/>
                        </a:lnSpc>
                        <a:spcBef>
                          <a:spcPct val="20000"/>
                        </a:spcBef>
                        <a:spcAft>
                          <a:spcPct val="0"/>
                        </a:spcAft>
                        <a:buClr>
                          <a:srgbClr val="00686D"/>
                        </a:buClr>
                        <a:buSzTx/>
                        <a:buFont typeface="Wingdings" pitchFamily="2" charset="2"/>
                        <a:buNone/>
                        <a:tabLst/>
                      </a:pPr>
                      <a:endParaRPr kumimoji="0" lang="en-GB" sz="1100" b="0" i="0" u="none" strike="noStrike" cap="none" normalizeH="0" baseline="0" dirty="0">
                        <a:ln>
                          <a:noFill/>
                        </a:ln>
                        <a:solidFill>
                          <a:schemeClr val="tx1"/>
                        </a:solidFill>
                        <a:effectLst/>
                        <a:latin typeface="Arial" charset="0"/>
                      </a:endParaRPr>
                    </a:p>
                  </a:txBody>
                  <a:tcPr marL="90000" marR="90000" marT="43200" marB="43200"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1"/>
                  </a:ext>
                </a:extLst>
              </a:tr>
              <a:tr h="238738">
                <a:tc>
                  <a:txBody>
                    <a:bodyPr/>
                    <a:lstStyle/>
                    <a:p>
                      <a:pPr marL="0" marR="0" lvl="0" indent="0" algn="l" defTabSz="800100" rtl="0" eaLnBrk="0" fontAlgn="base" latinLnBrk="0" hangingPunct="0">
                        <a:lnSpc>
                          <a:spcPct val="100000"/>
                        </a:lnSpc>
                        <a:spcBef>
                          <a:spcPct val="20000"/>
                        </a:spcBef>
                        <a:spcAft>
                          <a:spcPct val="0"/>
                        </a:spcAft>
                        <a:buClr>
                          <a:srgbClr val="00686D"/>
                        </a:buClr>
                        <a:buSzTx/>
                        <a:buFont typeface="Wingdings" pitchFamily="2" charset="2"/>
                        <a:buNone/>
                        <a:tabLst/>
                      </a:pPr>
                      <a:r>
                        <a:rPr kumimoji="0" lang="en-GB" sz="1100" b="0" i="0" u="none" strike="noStrike" cap="none" normalizeH="0" baseline="0" dirty="0">
                          <a:ln>
                            <a:noFill/>
                          </a:ln>
                          <a:solidFill>
                            <a:schemeClr val="tx1"/>
                          </a:solidFill>
                          <a:effectLst/>
                          <a:latin typeface="Arial" charset="0"/>
                        </a:rPr>
                        <a:t> Health &amp; Education Cess (B+C) </a:t>
                      </a:r>
                    </a:p>
                  </a:txBody>
                  <a:tcPr marL="90000" marR="90000" marT="43200" marB="43200" horzOverflow="overflow">
                    <a:lnL cap="flat">
                      <a:noFill/>
                    </a:lnL>
                    <a:lnR>
                      <a:noFill/>
                    </a:lnR>
                    <a:lnT>
                      <a:noFill/>
                    </a:lnT>
                    <a:lnB>
                      <a:noFill/>
                    </a:lnB>
                    <a:lnTlToBr>
                      <a:noFill/>
                    </a:lnTlToBr>
                    <a:lnBlToTr>
                      <a:noFill/>
                    </a:lnBlToTr>
                    <a:noFill/>
                  </a:tcPr>
                </a:tc>
                <a:tc>
                  <a:txBody>
                    <a:bodyPr/>
                    <a:lstStyle/>
                    <a:p>
                      <a:pPr marL="0" marR="0" lvl="0" indent="0" algn="r" defTabSz="800100" rtl="0" eaLnBrk="0" fontAlgn="base" latinLnBrk="0" hangingPunct="0">
                        <a:lnSpc>
                          <a:spcPct val="100000"/>
                        </a:lnSpc>
                        <a:spcBef>
                          <a:spcPct val="20000"/>
                        </a:spcBef>
                        <a:spcAft>
                          <a:spcPct val="0"/>
                        </a:spcAft>
                        <a:buClr>
                          <a:srgbClr val="00686D"/>
                        </a:buClr>
                        <a:buSzTx/>
                        <a:buFont typeface="Wingdings" pitchFamily="2" charset="2"/>
                        <a:buNone/>
                        <a:tabLst/>
                      </a:pPr>
                      <a:endParaRPr kumimoji="0" lang="en-GB" sz="1100" b="0" i="0" u="none" strike="noStrike" cap="none" normalizeH="0" baseline="0" dirty="0">
                        <a:ln>
                          <a:noFill/>
                        </a:ln>
                        <a:solidFill>
                          <a:schemeClr val="tx1"/>
                        </a:solidFill>
                        <a:effectLst/>
                        <a:latin typeface="Arial" charset="0"/>
                      </a:endParaRPr>
                    </a:p>
                  </a:txBody>
                  <a:tcPr marL="90000" marR="90000" marT="43200" marB="43200" horzOverflow="overflow">
                    <a:lnL>
                      <a:noFill/>
                    </a:lnL>
                    <a:lnR cap="flat">
                      <a:noFill/>
                    </a:lnR>
                    <a:lnT>
                      <a:noFill/>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38738">
                <a:tc>
                  <a:txBody>
                    <a:bodyPr/>
                    <a:lstStyle/>
                    <a:p>
                      <a:pPr marL="0" marR="0" lvl="0" indent="0" algn="l" defTabSz="800100" rtl="0" eaLnBrk="0" fontAlgn="base" latinLnBrk="0" hangingPunct="0">
                        <a:lnSpc>
                          <a:spcPct val="100000"/>
                        </a:lnSpc>
                        <a:spcBef>
                          <a:spcPct val="20000"/>
                        </a:spcBef>
                        <a:spcAft>
                          <a:spcPct val="0"/>
                        </a:spcAft>
                        <a:buClr>
                          <a:srgbClr val="00686D"/>
                        </a:buClr>
                        <a:buSzTx/>
                        <a:buFont typeface="Wingdings" pitchFamily="2" charset="2"/>
                        <a:buNone/>
                        <a:tabLst/>
                      </a:pPr>
                      <a:r>
                        <a:rPr kumimoji="0" lang="en-GB" sz="1100" b="0" i="0" u="none" strike="noStrike" cap="none" normalizeH="0" baseline="0" dirty="0">
                          <a:ln>
                            <a:noFill/>
                          </a:ln>
                          <a:solidFill>
                            <a:schemeClr val="tx1"/>
                          </a:solidFill>
                          <a:effectLst/>
                          <a:latin typeface="Arial" charset="0"/>
                        </a:rPr>
                        <a:t> Income Tax total   </a:t>
                      </a:r>
                    </a:p>
                  </a:txBody>
                  <a:tcPr marL="90000" marR="90000" marT="43200" marB="43200" horzOverflow="overflow">
                    <a:lnL cap="flat">
                      <a:noFill/>
                    </a:lnL>
                    <a:lnR>
                      <a:noFill/>
                    </a:lnR>
                    <a:lnT>
                      <a:noFill/>
                    </a:lnT>
                    <a:lnB cap="flat">
                      <a:noFill/>
                    </a:lnB>
                    <a:lnTlToBr>
                      <a:noFill/>
                    </a:lnTlToBr>
                    <a:lnBlToTr>
                      <a:noFill/>
                    </a:lnBlToTr>
                    <a:noFill/>
                  </a:tcPr>
                </a:tc>
                <a:tc>
                  <a:txBody>
                    <a:bodyPr/>
                    <a:lstStyle/>
                    <a:p>
                      <a:pPr marL="0" marR="0" lvl="0" indent="0" algn="r" defTabSz="800100" rtl="0" eaLnBrk="0" fontAlgn="base" latinLnBrk="0" hangingPunct="0">
                        <a:lnSpc>
                          <a:spcPct val="100000"/>
                        </a:lnSpc>
                        <a:spcBef>
                          <a:spcPct val="20000"/>
                        </a:spcBef>
                        <a:spcAft>
                          <a:spcPct val="0"/>
                        </a:spcAft>
                        <a:buClr>
                          <a:srgbClr val="00686D"/>
                        </a:buClr>
                        <a:buSzTx/>
                        <a:buFont typeface="Wingdings" pitchFamily="2" charset="2"/>
                        <a:buNone/>
                        <a:tabLst/>
                      </a:pPr>
                      <a:r>
                        <a:rPr kumimoji="0" lang="en-GB" sz="1100" b="1" i="0" u="none" strike="noStrike" cap="none" normalizeH="0" baseline="0" dirty="0">
                          <a:ln>
                            <a:noFill/>
                          </a:ln>
                          <a:solidFill>
                            <a:schemeClr val="tx1"/>
                          </a:solidFill>
                          <a:effectLst/>
                          <a:latin typeface="Arial" charset="0"/>
                        </a:rPr>
                        <a:t>25,17%</a:t>
                      </a:r>
                    </a:p>
                  </a:txBody>
                  <a:tcPr marL="90000" marR="90000" marT="43200" marB="43200" horzOverflow="overflow">
                    <a:lnL>
                      <a:noFill/>
                    </a:lnL>
                    <a:lnR cap="flat">
                      <a:noFill/>
                    </a:lnR>
                    <a:lnT w="12700" cap="flat" cmpd="sng" algn="ctr">
                      <a:solidFill>
                        <a:schemeClr val="tx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4"/>
                  </a:ext>
                </a:extLst>
              </a:tr>
            </a:tbl>
          </a:graphicData>
        </a:graphic>
      </p:graphicFrame>
      <p:graphicFrame>
        <p:nvGraphicFramePr>
          <p:cNvPr id="2" name="Tabelle 1"/>
          <p:cNvGraphicFramePr>
            <a:graphicFrameLocks noGrp="1"/>
          </p:cNvGraphicFramePr>
          <p:nvPr>
            <p:extLst/>
          </p:nvPr>
        </p:nvGraphicFramePr>
        <p:xfrm>
          <a:off x="6816080" y="1721487"/>
          <a:ext cx="3721870" cy="1188325"/>
        </p:xfrm>
        <a:graphic>
          <a:graphicData uri="http://schemas.openxmlformats.org/drawingml/2006/table">
            <a:tbl>
              <a:tblPr firstRow="1" firstCol="1" lastRow="1" lastCol="1" bandRow="1" bandCol="1"/>
              <a:tblGrid>
                <a:gridCol w="1948341">
                  <a:extLst>
                    <a:ext uri="{9D8B030D-6E8A-4147-A177-3AD203B41FA5}">
                      <a16:colId xmlns:a16="http://schemas.microsoft.com/office/drawing/2014/main" val="20000"/>
                    </a:ext>
                  </a:extLst>
                </a:gridCol>
                <a:gridCol w="1773529">
                  <a:extLst>
                    <a:ext uri="{9D8B030D-6E8A-4147-A177-3AD203B41FA5}">
                      <a16:colId xmlns:a16="http://schemas.microsoft.com/office/drawing/2014/main" val="20001"/>
                    </a:ext>
                  </a:extLst>
                </a:gridCol>
              </a:tblGrid>
              <a:tr h="166001">
                <a:tc>
                  <a:txBody>
                    <a:bodyPr/>
                    <a:lstStyle/>
                    <a:p>
                      <a:pPr marL="68580">
                        <a:spcBef>
                          <a:spcPts val="480"/>
                        </a:spcBef>
                        <a:spcAft>
                          <a:spcPts val="0"/>
                        </a:spcAft>
                      </a:pPr>
                      <a:r>
                        <a:rPr lang="de-DE" sz="1100" b="1" dirty="0" err="1">
                          <a:solidFill>
                            <a:srgbClr val="FFFFFF"/>
                          </a:solidFill>
                          <a:effectLst/>
                          <a:latin typeface="+mj-lt"/>
                          <a:ea typeface="Frutiger CE 45 Light"/>
                          <a:cs typeface="Frutiger CE 45 Light"/>
                        </a:rPr>
                        <a:t>Foreign</a:t>
                      </a:r>
                      <a:r>
                        <a:rPr lang="de-DE" sz="1100" b="1" baseline="0" dirty="0">
                          <a:solidFill>
                            <a:srgbClr val="FFFFFF"/>
                          </a:solidFill>
                          <a:effectLst/>
                          <a:latin typeface="+mj-lt"/>
                          <a:ea typeface="Frutiger CE 45 Light"/>
                          <a:cs typeface="Frutiger CE 45 Light"/>
                        </a:rPr>
                        <a:t> Company </a:t>
                      </a:r>
                      <a:endParaRPr lang="de-DE" sz="1100" dirty="0">
                        <a:effectLst/>
                        <a:latin typeface="+mj-lt"/>
                        <a:ea typeface="Frutiger CE 45 Light"/>
                        <a:cs typeface="Frutiger CE 45 Light"/>
                      </a:endParaRPr>
                    </a:p>
                  </a:txBody>
                  <a:tcPr marL="0" marR="0" marT="0" marB="0">
                    <a:lnL w="12700" cap="flat" cmpd="sng" algn="ctr">
                      <a:solidFill>
                        <a:srgbClr val="D1D3D3"/>
                      </a:solidFill>
                      <a:prstDash val="solid"/>
                      <a:round/>
                      <a:headEnd type="none" w="med" len="med"/>
                      <a:tailEnd type="none" w="med" len="med"/>
                    </a:lnL>
                    <a:lnR w="12700" cap="flat" cmpd="sng" algn="ctr">
                      <a:solidFill>
                        <a:srgbClr val="D1D3D3"/>
                      </a:solidFill>
                      <a:prstDash val="solid"/>
                      <a:round/>
                      <a:headEnd type="none" w="med" len="med"/>
                      <a:tailEnd type="none" w="med" len="med"/>
                    </a:lnR>
                    <a:lnT w="12700" cap="flat" cmpd="sng" algn="ctr">
                      <a:solidFill>
                        <a:srgbClr val="D1D3D3"/>
                      </a:solidFill>
                      <a:prstDash val="solid"/>
                      <a:round/>
                      <a:headEnd type="none" w="med" len="med"/>
                      <a:tailEnd type="none" w="med" len="med"/>
                    </a:lnT>
                    <a:lnB w="12700" cap="flat" cmpd="sng" algn="ctr">
                      <a:solidFill>
                        <a:srgbClr val="D1D3D3"/>
                      </a:solidFill>
                      <a:prstDash val="solid"/>
                      <a:round/>
                      <a:headEnd type="none" w="med" len="med"/>
                      <a:tailEnd type="none" w="med" len="med"/>
                    </a:lnB>
                    <a:solidFill>
                      <a:srgbClr val="76B828"/>
                    </a:solidFill>
                  </a:tcPr>
                </a:tc>
                <a:tc>
                  <a:txBody>
                    <a:bodyPr/>
                    <a:lstStyle/>
                    <a:p>
                      <a:pPr marL="68580">
                        <a:spcBef>
                          <a:spcPts val="480"/>
                        </a:spcBef>
                        <a:spcAft>
                          <a:spcPts val="0"/>
                        </a:spcAft>
                      </a:pPr>
                      <a:r>
                        <a:rPr lang="de-DE" sz="1100" b="1" dirty="0">
                          <a:solidFill>
                            <a:srgbClr val="FFFFFF"/>
                          </a:solidFill>
                          <a:effectLst/>
                          <a:latin typeface="+mj-lt"/>
                          <a:ea typeface="Frutiger CE 45 Light"/>
                          <a:cs typeface="Frutiger CE 45 Light"/>
                        </a:rPr>
                        <a:t>Rate</a:t>
                      </a:r>
                      <a:endParaRPr lang="de-DE" sz="1100" dirty="0">
                        <a:effectLst/>
                        <a:latin typeface="+mj-lt"/>
                        <a:ea typeface="Frutiger CE 45 Light"/>
                        <a:cs typeface="Frutiger CE 45 Light"/>
                      </a:endParaRPr>
                    </a:p>
                  </a:txBody>
                  <a:tcPr marL="0" marR="0" marT="0" marB="0">
                    <a:lnL w="12700" cap="flat" cmpd="sng" algn="ctr">
                      <a:solidFill>
                        <a:srgbClr val="D1D3D3"/>
                      </a:solidFill>
                      <a:prstDash val="solid"/>
                      <a:round/>
                      <a:headEnd type="none" w="med" len="med"/>
                      <a:tailEnd type="none" w="med" len="med"/>
                    </a:lnL>
                    <a:lnR w="12700" cap="flat" cmpd="sng" algn="ctr">
                      <a:solidFill>
                        <a:srgbClr val="D1D3D3"/>
                      </a:solidFill>
                      <a:prstDash val="solid"/>
                      <a:round/>
                      <a:headEnd type="none" w="med" len="med"/>
                      <a:tailEnd type="none" w="med" len="med"/>
                    </a:lnR>
                    <a:lnT w="12700" cap="flat" cmpd="sng" algn="ctr">
                      <a:solidFill>
                        <a:srgbClr val="D1D3D3"/>
                      </a:solidFill>
                      <a:prstDash val="solid"/>
                      <a:round/>
                      <a:headEnd type="none" w="med" len="med"/>
                      <a:tailEnd type="none" w="med" len="med"/>
                    </a:lnT>
                    <a:lnB w="12700" cap="flat" cmpd="sng" algn="ctr">
                      <a:solidFill>
                        <a:srgbClr val="D1D3D3"/>
                      </a:solidFill>
                      <a:prstDash val="solid"/>
                      <a:round/>
                      <a:headEnd type="none" w="med" len="med"/>
                      <a:tailEnd type="none" w="med" len="med"/>
                    </a:lnB>
                    <a:solidFill>
                      <a:srgbClr val="76B828"/>
                    </a:solidFill>
                  </a:tcPr>
                </a:tc>
                <a:extLst>
                  <a:ext uri="{0D108BD9-81ED-4DB2-BD59-A6C34878D82A}">
                    <a16:rowId xmlns:a16="http://schemas.microsoft.com/office/drawing/2014/main" val="10000"/>
                  </a:ext>
                </a:extLst>
              </a:tr>
              <a:tr h="275208">
                <a:tc>
                  <a:txBody>
                    <a:bodyPr/>
                    <a:lstStyle/>
                    <a:p>
                      <a:pPr marL="68580">
                        <a:spcBef>
                          <a:spcPts val="165"/>
                        </a:spcBef>
                        <a:spcAft>
                          <a:spcPts val="0"/>
                        </a:spcAft>
                      </a:pPr>
                      <a:r>
                        <a:rPr lang="de-DE" sz="1100" dirty="0">
                          <a:effectLst/>
                          <a:latin typeface="+mj-lt"/>
                          <a:ea typeface="Frutiger CE 45 Light"/>
                          <a:cs typeface="Frutiger CE 45 Light"/>
                        </a:rPr>
                        <a:t>Income </a:t>
                      </a:r>
                      <a:r>
                        <a:rPr lang="de-DE" sz="1100" dirty="0" err="1">
                          <a:effectLst/>
                          <a:latin typeface="+mj-lt"/>
                          <a:ea typeface="Frutiger CE 45 Light"/>
                          <a:cs typeface="Frutiger CE 45 Light"/>
                        </a:rPr>
                        <a:t>Tax</a:t>
                      </a:r>
                      <a:endParaRPr lang="de-DE" sz="1100" dirty="0">
                        <a:effectLst/>
                        <a:latin typeface="+mj-lt"/>
                        <a:ea typeface="Frutiger CE 45 Light"/>
                        <a:cs typeface="Frutiger CE 45 Light"/>
                      </a:endParaRPr>
                    </a:p>
                  </a:txBody>
                  <a:tcPr marL="0" marR="0" marT="0" marB="0">
                    <a:lnL w="12700" cap="flat" cmpd="sng" algn="ctr">
                      <a:solidFill>
                        <a:srgbClr val="D1D3D3"/>
                      </a:solidFill>
                      <a:prstDash val="solid"/>
                      <a:round/>
                      <a:headEnd type="none" w="med" len="med"/>
                      <a:tailEnd type="none" w="med" len="med"/>
                    </a:lnL>
                    <a:lnR w="12700" cap="flat" cmpd="sng" algn="ctr">
                      <a:solidFill>
                        <a:srgbClr val="D1D3D3"/>
                      </a:solidFill>
                      <a:prstDash val="solid"/>
                      <a:round/>
                      <a:headEnd type="none" w="med" len="med"/>
                      <a:tailEnd type="none" w="med" len="med"/>
                    </a:lnR>
                    <a:lnT w="12700" cap="flat" cmpd="sng" algn="ctr">
                      <a:solidFill>
                        <a:srgbClr val="D1D3D3"/>
                      </a:solidFill>
                      <a:prstDash val="solid"/>
                      <a:round/>
                      <a:headEnd type="none" w="med" len="med"/>
                      <a:tailEnd type="none" w="med" len="med"/>
                    </a:lnT>
                    <a:lnB>
                      <a:noFill/>
                    </a:lnB>
                  </a:tcPr>
                </a:tc>
                <a:tc>
                  <a:txBody>
                    <a:bodyPr/>
                    <a:lstStyle/>
                    <a:p>
                      <a:pPr marL="68580">
                        <a:spcBef>
                          <a:spcPts val="165"/>
                        </a:spcBef>
                        <a:spcAft>
                          <a:spcPts val="0"/>
                        </a:spcAft>
                      </a:pPr>
                      <a:r>
                        <a:rPr lang="de-DE" sz="1100" spc="20" dirty="0">
                          <a:effectLst/>
                          <a:latin typeface="+mj-lt"/>
                          <a:ea typeface="Frutiger CE 45 Light"/>
                          <a:cs typeface="Frutiger CE 45 Light"/>
                        </a:rPr>
                        <a:t>4</a:t>
                      </a:r>
                      <a:r>
                        <a:rPr lang="de-DE" sz="1100" dirty="0">
                          <a:effectLst/>
                          <a:latin typeface="+mj-lt"/>
                          <a:ea typeface="Frutiger CE 45 Light"/>
                          <a:cs typeface="Frutiger CE 45 Light"/>
                        </a:rPr>
                        <a:t>0%</a:t>
                      </a:r>
                    </a:p>
                  </a:txBody>
                  <a:tcPr marL="0" marR="0" marT="0" marB="0">
                    <a:lnL w="12700" cap="flat" cmpd="sng" algn="ctr">
                      <a:solidFill>
                        <a:srgbClr val="D1D3D3"/>
                      </a:solidFill>
                      <a:prstDash val="solid"/>
                      <a:round/>
                      <a:headEnd type="none" w="med" len="med"/>
                      <a:tailEnd type="none" w="med" len="med"/>
                    </a:lnL>
                    <a:lnR w="12700" cap="flat" cmpd="sng" algn="ctr">
                      <a:solidFill>
                        <a:srgbClr val="D1D3D3"/>
                      </a:solidFill>
                      <a:prstDash val="solid"/>
                      <a:round/>
                      <a:headEnd type="none" w="med" len="med"/>
                      <a:tailEnd type="none" w="med" len="med"/>
                    </a:lnR>
                    <a:lnT w="12700" cap="flat" cmpd="sng" algn="ctr">
                      <a:solidFill>
                        <a:srgbClr val="D1D3D3"/>
                      </a:solidFill>
                      <a:prstDash val="solid"/>
                      <a:round/>
                      <a:headEnd type="none" w="med" len="med"/>
                      <a:tailEnd type="none" w="med" len="med"/>
                    </a:lnT>
                    <a:lnB>
                      <a:noFill/>
                    </a:lnB>
                  </a:tcPr>
                </a:tc>
                <a:extLst>
                  <a:ext uri="{0D108BD9-81ED-4DB2-BD59-A6C34878D82A}">
                    <a16:rowId xmlns:a16="http://schemas.microsoft.com/office/drawing/2014/main" val="10001"/>
                  </a:ext>
                </a:extLst>
              </a:tr>
              <a:tr h="251067">
                <a:tc>
                  <a:txBody>
                    <a:bodyPr/>
                    <a:lstStyle/>
                    <a:p>
                      <a:pPr marL="68580">
                        <a:spcBef>
                          <a:spcPts val="65"/>
                        </a:spcBef>
                        <a:spcAft>
                          <a:spcPts val="0"/>
                        </a:spcAft>
                      </a:pPr>
                      <a:r>
                        <a:rPr lang="de-DE" sz="1100" dirty="0" err="1">
                          <a:effectLst/>
                          <a:latin typeface="+mj-lt"/>
                          <a:ea typeface="Frutiger CE 45 Light"/>
                          <a:cs typeface="Frutiger CE 45 Light"/>
                        </a:rPr>
                        <a:t>Surcharge</a:t>
                      </a:r>
                      <a:r>
                        <a:rPr lang="de-DE" sz="1100" baseline="0" dirty="0">
                          <a:effectLst/>
                          <a:latin typeface="+mj-lt"/>
                          <a:ea typeface="Frutiger CE 45 Light"/>
                          <a:cs typeface="Frutiger CE 45 Light"/>
                        </a:rPr>
                        <a:t> </a:t>
                      </a:r>
                      <a:endParaRPr lang="de-DE" sz="1100" dirty="0">
                        <a:effectLst/>
                        <a:latin typeface="+mj-lt"/>
                        <a:ea typeface="Frutiger CE 45 Light"/>
                        <a:cs typeface="Frutiger CE 45 Light"/>
                      </a:endParaRPr>
                    </a:p>
                  </a:txBody>
                  <a:tcPr marL="0" marR="0" marT="0" marB="0">
                    <a:lnL w="12700" cap="flat" cmpd="sng" algn="ctr">
                      <a:solidFill>
                        <a:srgbClr val="D1D3D3"/>
                      </a:solidFill>
                      <a:prstDash val="solid"/>
                      <a:round/>
                      <a:headEnd type="none" w="med" len="med"/>
                      <a:tailEnd type="none" w="med" len="med"/>
                    </a:lnL>
                    <a:lnR w="12700" cap="flat" cmpd="sng" algn="ctr">
                      <a:solidFill>
                        <a:srgbClr val="D1D3D3"/>
                      </a:solidFill>
                      <a:prstDash val="solid"/>
                      <a:round/>
                      <a:headEnd type="none" w="med" len="med"/>
                      <a:tailEnd type="none" w="med" len="med"/>
                    </a:lnR>
                    <a:lnT>
                      <a:noFill/>
                    </a:lnT>
                    <a:lnB>
                      <a:noFill/>
                    </a:lnB>
                  </a:tcPr>
                </a:tc>
                <a:tc>
                  <a:txBody>
                    <a:bodyPr/>
                    <a:lstStyle/>
                    <a:p>
                      <a:pPr marL="68580">
                        <a:spcBef>
                          <a:spcPts val="65"/>
                        </a:spcBef>
                        <a:spcAft>
                          <a:spcPts val="0"/>
                        </a:spcAft>
                      </a:pPr>
                      <a:r>
                        <a:rPr lang="de-DE" sz="1100" dirty="0">
                          <a:effectLst/>
                          <a:latin typeface="+mj-lt"/>
                          <a:ea typeface="Frutiger CE 45 Light"/>
                          <a:cs typeface="Frutiger CE 45 Light"/>
                        </a:rPr>
                        <a:t>12 %</a:t>
                      </a:r>
                    </a:p>
                  </a:txBody>
                  <a:tcPr marL="0" marR="0" marT="0" marB="0">
                    <a:lnL w="12700" cap="flat" cmpd="sng" algn="ctr">
                      <a:solidFill>
                        <a:srgbClr val="D1D3D3"/>
                      </a:solidFill>
                      <a:prstDash val="solid"/>
                      <a:round/>
                      <a:headEnd type="none" w="med" len="med"/>
                      <a:tailEnd type="none" w="med" len="med"/>
                    </a:lnL>
                    <a:lnR w="12700" cap="flat" cmpd="sng" algn="ctr">
                      <a:solidFill>
                        <a:srgbClr val="D1D3D3"/>
                      </a:solidFill>
                      <a:prstDash val="solid"/>
                      <a:round/>
                      <a:headEnd type="none" w="med" len="med"/>
                      <a:tailEnd type="none" w="med" len="med"/>
                    </a:lnR>
                    <a:lnT>
                      <a:noFill/>
                    </a:lnT>
                    <a:lnB>
                      <a:noFill/>
                    </a:lnB>
                  </a:tcPr>
                </a:tc>
                <a:extLst>
                  <a:ext uri="{0D108BD9-81ED-4DB2-BD59-A6C34878D82A}">
                    <a16:rowId xmlns:a16="http://schemas.microsoft.com/office/drawing/2014/main" val="10002"/>
                  </a:ext>
                </a:extLst>
              </a:tr>
              <a:tr h="251067">
                <a:tc>
                  <a:txBody>
                    <a:bodyPr/>
                    <a:lstStyle/>
                    <a:p>
                      <a:pPr marL="68580">
                        <a:spcBef>
                          <a:spcPts val="65"/>
                        </a:spcBef>
                        <a:spcAft>
                          <a:spcPts val="0"/>
                        </a:spcAft>
                      </a:pPr>
                      <a:r>
                        <a:rPr lang="de-DE" sz="1100" dirty="0" err="1">
                          <a:effectLst/>
                          <a:latin typeface="+mj-lt"/>
                          <a:ea typeface="Frutiger CE 45 Light"/>
                          <a:cs typeface="Frutiger CE 45 Light"/>
                        </a:rPr>
                        <a:t>Health</a:t>
                      </a:r>
                      <a:r>
                        <a:rPr lang="de-DE" sz="1100" baseline="0" dirty="0">
                          <a:effectLst/>
                          <a:latin typeface="+mj-lt"/>
                          <a:ea typeface="Frutiger CE 45 Light"/>
                          <a:cs typeface="Frutiger CE 45 Light"/>
                        </a:rPr>
                        <a:t>  &amp; Education </a:t>
                      </a:r>
                      <a:r>
                        <a:rPr lang="de-DE" sz="1100" baseline="0" dirty="0" err="1">
                          <a:effectLst/>
                          <a:latin typeface="+mj-lt"/>
                          <a:ea typeface="Frutiger CE 45 Light"/>
                          <a:cs typeface="Frutiger CE 45 Light"/>
                        </a:rPr>
                        <a:t>Cess</a:t>
                      </a:r>
                      <a:endParaRPr lang="de-DE" sz="1100" dirty="0">
                        <a:effectLst/>
                        <a:latin typeface="+mj-lt"/>
                        <a:ea typeface="Frutiger CE 45 Light"/>
                        <a:cs typeface="Frutiger CE 45 Light"/>
                      </a:endParaRPr>
                    </a:p>
                  </a:txBody>
                  <a:tcPr marL="0" marR="0" marT="0" marB="0">
                    <a:lnL w="12700" cap="flat" cmpd="sng" algn="ctr">
                      <a:solidFill>
                        <a:srgbClr val="D1D3D3"/>
                      </a:solidFill>
                      <a:prstDash val="solid"/>
                      <a:round/>
                      <a:headEnd type="none" w="med" len="med"/>
                      <a:tailEnd type="none" w="med" len="med"/>
                    </a:lnL>
                    <a:lnR w="12700" cap="flat" cmpd="sng" algn="ctr">
                      <a:solidFill>
                        <a:srgbClr val="D1D3D3"/>
                      </a:solidFill>
                      <a:prstDash val="solid"/>
                      <a:round/>
                      <a:headEnd type="none" w="med" len="med"/>
                      <a:tailEnd type="none" w="med" len="med"/>
                    </a:lnR>
                    <a:lnT>
                      <a:noFill/>
                    </a:lnT>
                    <a:lnB>
                      <a:noFill/>
                    </a:lnB>
                  </a:tcPr>
                </a:tc>
                <a:tc>
                  <a:txBody>
                    <a:bodyPr/>
                    <a:lstStyle/>
                    <a:p>
                      <a:pPr marL="68580">
                        <a:spcBef>
                          <a:spcPts val="65"/>
                        </a:spcBef>
                        <a:spcAft>
                          <a:spcPts val="0"/>
                        </a:spcAft>
                      </a:pPr>
                      <a:r>
                        <a:rPr lang="en-US" sz="1100" dirty="0">
                          <a:effectLst/>
                          <a:latin typeface="+mj-lt"/>
                          <a:ea typeface="Frutiger CE 45 Light"/>
                          <a:cs typeface="Frutiger CE 45 Light"/>
                        </a:rPr>
                        <a:t>4 %</a:t>
                      </a:r>
                      <a:endParaRPr lang="de-DE" sz="1100" dirty="0">
                        <a:effectLst/>
                        <a:latin typeface="+mj-lt"/>
                        <a:ea typeface="Frutiger CE 45 Light"/>
                        <a:cs typeface="Frutiger CE 45 Light"/>
                      </a:endParaRPr>
                    </a:p>
                  </a:txBody>
                  <a:tcPr marL="0" marR="0" marT="0" marB="0">
                    <a:lnL w="12700" cap="flat" cmpd="sng" algn="ctr">
                      <a:solidFill>
                        <a:srgbClr val="D1D3D3"/>
                      </a:solidFill>
                      <a:prstDash val="solid"/>
                      <a:round/>
                      <a:headEnd type="none" w="med" len="med"/>
                      <a:tailEnd type="none" w="med" len="med"/>
                    </a:lnL>
                    <a:lnR w="12700" cap="flat" cmpd="sng" algn="ctr">
                      <a:solidFill>
                        <a:srgbClr val="D1D3D3"/>
                      </a:solidFill>
                      <a:prstDash val="solid"/>
                      <a:round/>
                      <a:headEnd type="none" w="med" len="med"/>
                      <a:tailEnd type="none" w="med" len="med"/>
                    </a:lnR>
                    <a:lnT>
                      <a:noFill/>
                    </a:lnT>
                    <a:lnB>
                      <a:noFill/>
                    </a:lnB>
                  </a:tcPr>
                </a:tc>
                <a:extLst>
                  <a:ext uri="{0D108BD9-81ED-4DB2-BD59-A6C34878D82A}">
                    <a16:rowId xmlns:a16="http://schemas.microsoft.com/office/drawing/2014/main" val="10003"/>
                  </a:ext>
                </a:extLst>
              </a:tr>
              <a:tr h="243343">
                <a:tc>
                  <a:txBody>
                    <a:bodyPr/>
                    <a:lstStyle/>
                    <a:p>
                      <a:pPr marL="68580">
                        <a:spcBef>
                          <a:spcPts val="50"/>
                        </a:spcBef>
                        <a:spcAft>
                          <a:spcPts val="0"/>
                        </a:spcAft>
                      </a:pPr>
                      <a:r>
                        <a:rPr lang="en-US" sz="1100" b="1" dirty="0">
                          <a:effectLst/>
                          <a:latin typeface="+mj-lt"/>
                          <a:ea typeface="Frutiger CE 45 Light"/>
                          <a:cs typeface="Frutiger CE 45 Light"/>
                        </a:rPr>
                        <a:t>Total</a:t>
                      </a:r>
                      <a:r>
                        <a:rPr lang="en-US" sz="1100" b="1" baseline="0" dirty="0">
                          <a:effectLst/>
                          <a:latin typeface="+mj-lt"/>
                          <a:ea typeface="Frutiger CE 45 Light"/>
                          <a:cs typeface="Frutiger CE 45 Light"/>
                        </a:rPr>
                        <a:t> </a:t>
                      </a:r>
                      <a:endParaRPr lang="de-DE" sz="1100" dirty="0">
                        <a:effectLst/>
                        <a:latin typeface="+mj-lt"/>
                        <a:ea typeface="Frutiger CE 45 Light"/>
                        <a:cs typeface="Frutiger CE 45 Light"/>
                      </a:endParaRPr>
                    </a:p>
                  </a:txBody>
                  <a:tcPr marL="0" marR="0" marT="0" marB="0">
                    <a:lnL w="12700" cap="flat" cmpd="sng" algn="ctr">
                      <a:solidFill>
                        <a:srgbClr val="D1D3D3"/>
                      </a:solidFill>
                      <a:prstDash val="solid"/>
                      <a:round/>
                      <a:headEnd type="none" w="med" len="med"/>
                      <a:tailEnd type="none" w="med" len="med"/>
                    </a:lnL>
                    <a:lnR w="12700" cap="flat" cmpd="sng" algn="ctr">
                      <a:solidFill>
                        <a:srgbClr val="D1D3D3"/>
                      </a:solidFill>
                      <a:prstDash val="solid"/>
                      <a:round/>
                      <a:headEnd type="none" w="med" len="med"/>
                      <a:tailEnd type="none" w="med" len="med"/>
                    </a:lnR>
                    <a:lnT>
                      <a:noFill/>
                    </a:lnT>
                    <a:lnB w="12700" cap="flat" cmpd="sng" algn="ctr">
                      <a:solidFill>
                        <a:srgbClr val="D1D3D3"/>
                      </a:solidFill>
                      <a:prstDash val="solid"/>
                      <a:round/>
                      <a:headEnd type="none" w="med" len="med"/>
                      <a:tailEnd type="none" w="med" len="med"/>
                    </a:lnB>
                  </a:tcPr>
                </a:tc>
                <a:tc>
                  <a:txBody>
                    <a:bodyPr/>
                    <a:lstStyle/>
                    <a:p>
                      <a:pPr marL="68580">
                        <a:spcBef>
                          <a:spcPts val="50"/>
                        </a:spcBef>
                        <a:spcAft>
                          <a:spcPts val="0"/>
                        </a:spcAft>
                      </a:pPr>
                      <a:r>
                        <a:rPr lang="en-US" sz="1100" b="1" dirty="0">
                          <a:effectLst/>
                          <a:latin typeface="+mj-lt"/>
                          <a:ea typeface="Frutiger CE 45 Light"/>
                          <a:cs typeface="Frutiger CE 45 Light"/>
                        </a:rPr>
                        <a:t>43,68 </a:t>
                      </a:r>
                      <a:r>
                        <a:rPr lang="en-US" sz="1100" dirty="0">
                          <a:effectLst/>
                          <a:latin typeface="+mj-lt"/>
                          <a:ea typeface="Frutiger CE 45 Light"/>
                          <a:cs typeface="Frutiger CE 45 Light"/>
                        </a:rPr>
                        <a:t>%</a:t>
                      </a:r>
                      <a:endParaRPr lang="de-DE" sz="1100" dirty="0">
                        <a:effectLst/>
                        <a:latin typeface="+mj-lt"/>
                        <a:ea typeface="Frutiger CE 45 Light"/>
                        <a:cs typeface="Frutiger CE 45 Light"/>
                      </a:endParaRPr>
                    </a:p>
                  </a:txBody>
                  <a:tcPr marL="0" marR="0" marT="0" marB="0">
                    <a:lnL w="12700" cap="flat" cmpd="sng" algn="ctr">
                      <a:solidFill>
                        <a:srgbClr val="D1D3D3"/>
                      </a:solidFill>
                      <a:prstDash val="solid"/>
                      <a:round/>
                      <a:headEnd type="none" w="med" len="med"/>
                      <a:tailEnd type="none" w="med" len="med"/>
                    </a:lnL>
                    <a:lnR w="12700" cap="flat" cmpd="sng" algn="ctr">
                      <a:solidFill>
                        <a:srgbClr val="D1D3D3"/>
                      </a:solidFill>
                      <a:prstDash val="solid"/>
                      <a:round/>
                      <a:headEnd type="none" w="med" len="med"/>
                      <a:tailEnd type="none" w="med" len="med"/>
                    </a:lnR>
                    <a:lnT>
                      <a:noFill/>
                    </a:lnT>
                    <a:lnB w="12700" cap="flat" cmpd="sng" algn="ctr">
                      <a:solidFill>
                        <a:srgbClr val="D1D3D3"/>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grpSp>
        <p:nvGrpSpPr>
          <p:cNvPr id="13" name="Gruppieren 12"/>
          <p:cNvGrpSpPr/>
          <p:nvPr/>
        </p:nvGrpSpPr>
        <p:grpSpPr>
          <a:xfrm>
            <a:off x="3675663" y="3866169"/>
            <a:ext cx="5004000" cy="2052000"/>
            <a:chOff x="1928415" y="2051080"/>
            <a:chExt cx="5262562" cy="2322966"/>
          </a:xfrm>
        </p:grpSpPr>
        <p:sp>
          <p:nvSpPr>
            <p:cNvPr id="14" name="Rectangle 2"/>
            <p:cNvSpPr>
              <a:spLocks noChangeArrowheads="1"/>
            </p:cNvSpPr>
            <p:nvPr/>
          </p:nvSpPr>
          <p:spPr bwMode="auto">
            <a:xfrm>
              <a:off x="3707904" y="2051080"/>
              <a:ext cx="1444625" cy="812800"/>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nchorCtr="1"/>
            <a:lstStyle/>
            <a:p>
              <a:pPr marL="0" marR="0" lvl="0" indent="0" algn="ctr" defTabSz="914400" rtl="0" eaLnBrk="1" fontAlgn="auto" latinLnBrk="0" hangingPunct="1">
                <a:lnSpc>
                  <a:spcPct val="100000"/>
                </a:lnSpc>
                <a:spcBef>
                  <a:spcPts val="0"/>
                </a:spcBef>
                <a:spcAft>
                  <a:spcPts val="0"/>
                </a:spcAft>
                <a:buClr>
                  <a:srgbClr val="005A4C"/>
                </a:buClr>
                <a:buSzTx/>
                <a:buFont typeface="Wingdings" pitchFamily="2" charset="2"/>
                <a:buNone/>
                <a:tabLst/>
                <a:defRPr/>
              </a:pPr>
              <a:r>
                <a:rPr kumimoji="0" lang="de-DE" sz="1600" b="0" i="0" u="none" strike="noStrike" kern="1200" cap="none" spc="0" normalizeH="0" baseline="0" noProof="0" dirty="0">
                  <a:ln>
                    <a:noFill/>
                  </a:ln>
                  <a:solidFill>
                    <a:srgbClr val="FFFFFF"/>
                  </a:solidFill>
                  <a:effectLst/>
                  <a:uLnTx/>
                  <a:uFillTx/>
                  <a:latin typeface="Arial"/>
                  <a:ea typeface="+mn-ea"/>
                  <a:cs typeface="Arial" charset="0"/>
                </a:rPr>
                <a:t>Shareholders</a:t>
              </a:r>
            </a:p>
            <a:p>
              <a:pPr marL="0" marR="0" lvl="0" indent="0" algn="ctr" defTabSz="914400" rtl="0" eaLnBrk="1" fontAlgn="auto" latinLnBrk="0" hangingPunct="1">
                <a:lnSpc>
                  <a:spcPct val="100000"/>
                </a:lnSpc>
                <a:spcBef>
                  <a:spcPts val="0"/>
                </a:spcBef>
                <a:spcAft>
                  <a:spcPts val="0"/>
                </a:spcAft>
                <a:buClr>
                  <a:srgbClr val="005A4C"/>
                </a:buClr>
                <a:buSzTx/>
                <a:buFont typeface="Wingdings" pitchFamily="2" charset="2"/>
                <a:buNone/>
                <a:tabLst/>
                <a:defRPr/>
              </a:pPr>
              <a:r>
                <a:rPr kumimoji="0" lang="de-DE" sz="1600" b="0" i="0" u="none" strike="noStrike" kern="1200" cap="none" spc="0" normalizeH="0" baseline="0" noProof="0" dirty="0">
                  <a:ln>
                    <a:noFill/>
                  </a:ln>
                  <a:solidFill>
                    <a:srgbClr val="FFFFFF"/>
                  </a:solidFill>
                  <a:effectLst/>
                  <a:uLnTx/>
                  <a:uFillTx/>
                  <a:latin typeface="Arial"/>
                  <a:ea typeface="+mn-ea"/>
                  <a:cs typeface="Arial" charset="0"/>
                </a:rPr>
                <a:t>Offshore</a:t>
              </a:r>
            </a:p>
          </p:txBody>
        </p:sp>
        <p:sp>
          <p:nvSpPr>
            <p:cNvPr id="15" name="Rectangle 3"/>
            <p:cNvSpPr>
              <a:spLocks noChangeArrowheads="1"/>
            </p:cNvSpPr>
            <p:nvPr/>
          </p:nvSpPr>
          <p:spPr bwMode="auto">
            <a:xfrm>
              <a:off x="3709491" y="3561246"/>
              <a:ext cx="1444625" cy="812800"/>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wrap="none" anchor="ctr" anchorCtr="1"/>
            <a:lstStyle/>
            <a:p>
              <a:pPr marL="0" marR="0" lvl="0" indent="0" algn="ctr" defTabSz="914400" rtl="0" eaLnBrk="1" fontAlgn="auto" latinLnBrk="0" hangingPunct="1">
                <a:lnSpc>
                  <a:spcPct val="100000"/>
                </a:lnSpc>
                <a:spcBef>
                  <a:spcPts val="0"/>
                </a:spcBef>
                <a:spcAft>
                  <a:spcPts val="0"/>
                </a:spcAft>
                <a:buClr>
                  <a:srgbClr val="005A4C"/>
                </a:buClr>
                <a:buSzTx/>
                <a:buFont typeface="Wingdings" pitchFamily="2" charset="2"/>
                <a:buNone/>
                <a:tabLst/>
                <a:defRPr/>
              </a:pPr>
              <a:r>
                <a:rPr kumimoji="0" lang="de-DE" sz="1600" b="0" i="0" u="none" strike="noStrike" kern="1200" cap="none" spc="0" normalizeH="0" baseline="0" noProof="0" dirty="0">
                  <a:ln>
                    <a:noFill/>
                  </a:ln>
                  <a:solidFill>
                    <a:srgbClr val="FFFFFF"/>
                  </a:solidFill>
                  <a:effectLst/>
                  <a:uLnTx/>
                  <a:uFillTx/>
                  <a:latin typeface="Arial"/>
                  <a:ea typeface="+mn-ea"/>
                  <a:cs typeface="Arial" charset="0"/>
                </a:rPr>
                <a:t>Pvt. Ltd.</a:t>
              </a:r>
            </a:p>
            <a:p>
              <a:pPr marL="0" marR="0" lvl="0" indent="0" algn="ctr" defTabSz="914400" rtl="0" eaLnBrk="1" fontAlgn="auto" latinLnBrk="0" hangingPunct="1">
                <a:lnSpc>
                  <a:spcPct val="100000"/>
                </a:lnSpc>
                <a:spcBef>
                  <a:spcPts val="0"/>
                </a:spcBef>
                <a:spcAft>
                  <a:spcPts val="0"/>
                </a:spcAft>
                <a:buClr>
                  <a:srgbClr val="005A4C"/>
                </a:buClr>
                <a:buSzTx/>
                <a:buFont typeface="Wingdings" pitchFamily="2" charset="2"/>
                <a:buNone/>
                <a:tabLst/>
                <a:defRPr/>
              </a:pPr>
              <a:r>
                <a:rPr kumimoji="0" lang="en-US" sz="1600" b="0" i="0" u="none" strike="noStrike" kern="1200" cap="none" spc="0" normalizeH="0" baseline="0" noProof="0" dirty="0">
                  <a:ln>
                    <a:noFill/>
                  </a:ln>
                  <a:solidFill>
                    <a:srgbClr val="FFFFFF"/>
                  </a:solidFill>
                  <a:effectLst/>
                  <a:uLnTx/>
                  <a:uFillTx/>
                  <a:latin typeface="Arial"/>
                  <a:ea typeface="+mn-ea"/>
                  <a:cs typeface="Arial" charset="0"/>
                </a:rPr>
                <a:t>India</a:t>
              </a:r>
            </a:p>
          </p:txBody>
        </p:sp>
        <p:cxnSp>
          <p:nvCxnSpPr>
            <p:cNvPr id="16" name="AutoShape 7"/>
            <p:cNvCxnSpPr>
              <a:cxnSpLocks noChangeShapeType="1"/>
              <a:endCxn id="14" idx="3"/>
            </p:cNvCxnSpPr>
            <p:nvPr/>
          </p:nvCxnSpPr>
          <p:spPr bwMode="auto">
            <a:xfrm flipH="1" flipV="1">
              <a:off x="5152529" y="2457480"/>
              <a:ext cx="1587" cy="1427163"/>
            </a:xfrm>
            <a:prstGeom prst="bentConnector3">
              <a:avLst>
                <a:gd name="adj1" fmla="val -14404542"/>
              </a:avLst>
            </a:prstGeom>
            <a:noFill/>
            <a:ln w="12700">
              <a:solidFill>
                <a:schemeClr val="accent1"/>
              </a:solidFill>
              <a:prstDash val="dash"/>
              <a:miter lim="800000"/>
              <a:headEnd/>
              <a:tailEnd type="triangle" w="med" len="med"/>
            </a:ln>
          </p:spPr>
        </p:cxnSp>
        <p:sp>
          <p:nvSpPr>
            <p:cNvPr id="18" name="Rectangle 9" descr="Diagonal weit nach oben"/>
            <p:cNvSpPr>
              <a:spLocks noChangeArrowheads="1"/>
            </p:cNvSpPr>
            <p:nvPr/>
          </p:nvSpPr>
          <p:spPr bwMode="auto">
            <a:xfrm rot="10800000" flipV="1">
              <a:off x="1928415" y="3315239"/>
              <a:ext cx="5262562" cy="58737"/>
            </a:xfrm>
            <a:prstGeom prst="rect">
              <a:avLst/>
            </a:prstGeom>
            <a:pattFill prst="wdUpDiag">
              <a:fgClr>
                <a:srgbClr val="FFFF00"/>
              </a:fgClr>
              <a:bgClr>
                <a:srgbClr val="FF0000"/>
              </a:bgClr>
            </a:pattFill>
            <a:ln w="9525">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lIns="79375" tIns="38100" rIns="79375" bIns="381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cxnSp>
          <p:nvCxnSpPr>
            <p:cNvPr id="19" name="AutoShape 13"/>
            <p:cNvCxnSpPr>
              <a:cxnSpLocks noChangeShapeType="1"/>
              <a:stCxn id="14" idx="1"/>
            </p:cNvCxnSpPr>
            <p:nvPr/>
          </p:nvCxnSpPr>
          <p:spPr bwMode="auto">
            <a:xfrm rot="10800000" flipH="1" flipV="1">
              <a:off x="3707904" y="2457480"/>
              <a:ext cx="1587" cy="1427163"/>
            </a:xfrm>
            <a:prstGeom prst="bentConnector3">
              <a:avLst>
                <a:gd name="adj1" fmla="val -14404542"/>
              </a:avLst>
            </a:prstGeom>
            <a:noFill/>
            <a:ln w="12700">
              <a:solidFill>
                <a:schemeClr val="accent1"/>
              </a:solidFill>
              <a:miter lim="800000"/>
              <a:headEnd/>
              <a:tailEnd type="triangle" w="med" len="med"/>
            </a:ln>
          </p:spPr>
        </p:cxnSp>
        <p:sp>
          <p:nvSpPr>
            <p:cNvPr id="20" name="Text Box 15"/>
            <p:cNvSpPr txBox="1">
              <a:spLocks noChangeArrowheads="1"/>
            </p:cNvSpPr>
            <p:nvPr/>
          </p:nvSpPr>
          <p:spPr bwMode="auto">
            <a:xfrm>
              <a:off x="2209304" y="2592418"/>
              <a:ext cx="1279525" cy="342657"/>
            </a:xfrm>
            <a:prstGeom prst="rect">
              <a:avLst/>
            </a:prstGeom>
            <a:noFill/>
            <a:ln w="12700">
              <a:noFill/>
              <a:miter lim="800000"/>
              <a:headEnd/>
              <a:tailEnd/>
            </a:ln>
          </p:spPr>
          <p:txBody>
            <a:bodyPr lIns="90000" tIns="43200" rIns="90000" bIns="432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a:ea typeface="+mn-ea"/>
                  <a:cs typeface="+mn-cs"/>
                </a:rPr>
                <a:t>Equity</a:t>
              </a:r>
            </a:p>
          </p:txBody>
        </p:sp>
        <p:cxnSp>
          <p:nvCxnSpPr>
            <p:cNvPr id="21" name="AutoShape 21"/>
            <p:cNvCxnSpPr>
              <a:cxnSpLocks noChangeShapeType="1"/>
              <a:stCxn id="14" idx="2"/>
              <a:endCxn id="15" idx="0"/>
            </p:cNvCxnSpPr>
            <p:nvPr/>
          </p:nvCxnSpPr>
          <p:spPr bwMode="auto">
            <a:xfrm>
              <a:off x="4430217" y="2863880"/>
              <a:ext cx="1587" cy="697366"/>
            </a:xfrm>
            <a:prstGeom prst="straightConnector1">
              <a:avLst/>
            </a:prstGeom>
            <a:noFill/>
            <a:ln w="19050">
              <a:solidFill>
                <a:schemeClr val="tx1"/>
              </a:solidFill>
              <a:round/>
              <a:headEnd/>
              <a:tailEnd/>
            </a:ln>
          </p:spPr>
        </p:cxnSp>
        <p:sp>
          <p:nvSpPr>
            <p:cNvPr id="22" name="Text Box 8"/>
            <p:cNvSpPr txBox="1">
              <a:spLocks noChangeArrowheads="1"/>
            </p:cNvSpPr>
            <p:nvPr/>
          </p:nvSpPr>
          <p:spPr bwMode="auto">
            <a:xfrm>
              <a:off x="2048321" y="3625880"/>
              <a:ext cx="1454150" cy="586550"/>
            </a:xfrm>
            <a:prstGeom prst="rect">
              <a:avLst/>
            </a:prstGeom>
            <a:noFill/>
            <a:ln w="12700">
              <a:noFill/>
              <a:miter lim="800000"/>
              <a:headEnd/>
              <a:tailEnd/>
            </a:ln>
          </p:spPr>
          <p:txBody>
            <a:bodyPr lIns="90000" tIns="43200" rIns="90000" bIns="432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000000"/>
                  </a:solidFill>
                  <a:effectLst/>
                  <a:uLnTx/>
                  <a:uFillTx/>
                  <a:latin typeface="Arial"/>
                  <a:ea typeface="+mn-ea"/>
                  <a:cs typeface="+mn-cs"/>
                </a:rPr>
                <a:t>Income Tax: </a:t>
              </a:r>
              <a:r>
                <a:rPr lang="de-DE" sz="1400" dirty="0">
                  <a:solidFill>
                    <a:srgbClr val="000000"/>
                  </a:solidFill>
                  <a:latin typeface="Arial"/>
                </a:rPr>
                <a:t>25</a:t>
              </a:r>
              <a:r>
                <a:rPr kumimoji="0" lang="de-DE" sz="1400" b="0" i="0" u="none" strike="noStrike" kern="1200" cap="none" spc="0" normalizeH="0" baseline="0" noProof="0" dirty="0">
                  <a:ln>
                    <a:noFill/>
                  </a:ln>
                  <a:solidFill>
                    <a:srgbClr val="000000"/>
                  </a:solidFill>
                  <a:effectLst/>
                  <a:uLnTx/>
                  <a:uFillTx/>
                  <a:latin typeface="Arial"/>
                  <a:ea typeface="+mn-ea"/>
                  <a:cs typeface="+mn-cs"/>
                </a:rPr>
                <a:t>,17%</a:t>
              </a:r>
            </a:p>
          </p:txBody>
        </p:sp>
      </p:grpSp>
      <p:pic>
        <p:nvPicPr>
          <p:cNvPr id="3" name="Grafik 2"/>
          <p:cNvPicPr>
            <a:picLocks noChangeAspect="1"/>
          </p:cNvPicPr>
          <p:nvPr/>
        </p:nvPicPr>
        <p:blipFill>
          <a:blip r:embed="rId3"/>
          <a:stretch>
            <a:fillRect/>
          </a:stretch>
        </p:blipFill>
        <p:spPr>
          <a:xfrm>
            <a:off x="8271576" y="5113427"/>
            <a:ext cx="1408298" cy="804742"/>
          </a:xfrm>
          <a:prstGeom prst="rect">
            <a:avLst/>
          </a:prstGeom>
        </p:spPr>
      </p:pic>
    </p:spTree>
    <p:extLst>
      <p:ext uri="{BB962C8B-B14F-4D97-AF65-F5344CB8AC3E}">
        <p14:creationId xmlns:p14="http://schemas.microsoft.com/office/powerpoint/2010/main" val="4011220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6"/>
                                        </p:tgtEl>
                                        <p:attrNameLst>
                                          <p:attrName>style.visibility</p:attrName>
                                        </p:attrNameLst>
                                      </p:cBhvr>
                                      <p:to>
                                        <p:strVal val="visible"/>
                                      </p:to>
                                    </p:set>
                                    <p:anim calcmode="lin" valueType="num">
                                      <p:cBhvr additive="base">
                                        <p:cTn id="7" dur="500" fill="hold"/>
                                        <p:tgtEl>
                                          <p:spTgt spid="66"/>
                                        </p:tgtEl>
                                        <p:attrNameLst>
                                          <p:attrName>ppt_x</p:attrName>
                                        </p:attrNameLst>
                                      </p:cBhvr>
                                      <p:tavLst>
                                        <p:tav tm="0">
                                          <p:val>
                                            <p:strVal val="#ppt_x"/>
                                          </p:val>
                                        </p:tav>
                                        <p:tav tm="100000">
                                          <p:val>
                                            <p:strVal val="#ppt_x"/>
                                          </p:val>
                                        </p:tav>
                                      </p:tavLst>
                                    </p:anim>
                                    <p:anim calcmode="lin" valueType="num">
                                      <p:cBhvr additive="base">
                                        <p:cTn id="8" dur="500" fill="hold"/>
                                        <p:tgtEl>
                                          <p:spTgt spid="6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42"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1000"/>
                                        <p:tgtEl>
                                          <p:spTgt spid="2"/>
                                        </p:tgtEl>
                                      </p:cBhvr>
                                    </p:animEffect>
                                    <p:anim calcmode="lin" valueType="num">
                                      <p:cBhvr>
                                        <p:cTn id="14" dur="1000" fill="hold"/>
                                        <p:tgtEl>
                                          <p:spTgt spid="2"/>
                                        </p:tgtEl>
                                        <p:attrNameLst>
                                          <p:attrName>ppt_x</p:attrName>
                                        </p:attrNameLst>
                                      </p:cBhvr>
                                      <p:tavLst>
                                        <p:tav tm="0">
                                          <p:val>
                                            <p:strVal val="#ppt_x"/>
                                          </p:val>
                                        </p:tav>
                                        <p:tav tm="100000">
                                          <p:val>
                                            <p:strVal val="#ppt_x"/>
                                          </p:val>
                                        </p:tav>
                                      </p:tavLst>
                                    </p:anim>
                                    <p:anim calcmode="lin" valueType="num">
                                      <p:cBhvr>
                                        <p:cTn id="1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6" fill="hold">
                      <p:stCondLst>
                        <p:cond delay="indefinite"/>
                      </p:stCondLst>
                      <p:childTnLst>
                        <p:par>
                          <p:cTn id="17" fill="hold">
                            <p:stCondLst>
                              <p:cond delay="0"/>
                            </p:stCondLst>
                            <p:childTnLst>
                              <p:par>
                                <p:cTn id="18" presetID="1" presetClass="exit" presetSubtype="0" fill="hold" grpId="0" nodeType="clickEffect" nodePh="1">
                                  <p:stCondLst>
                                    <p:cond delay="0"/>
                                  </p:stCondLst>
                                  <p:endCondLst>
                                    <p:cond evt="begin" delay="0">
                                      <p:tn val="18"/>
                                    </p:cond>
                                  </p:endCondLst>
                                  <p:childTnLst>
                                    <p:set>
                                      <p:cBhvr>
                                        <p:cTn id="19" dur="1" fill="hold">
                                          <p:stCondLst>
                                            <p:cond delay="0"/>
                                          </p:stCondLst>
                                        </p:cTn>
                                        <p:tgtEl>
                                          <p:spTgt spid="4">
                                            <p:txEl>
                                              <p:pRg st="0" end="0"/>
                                            </p:txEl>
                                          </p:spTgt>
                                        </p:tgtEl>
                                        <p:attrNameLst>
                                          <p:attrName>style.visibility</p:attrName>
                                        </p:attrNameLst>
                                      </p:cBhvr>
                                      <p:to>
                                        <p:strVal val="hidden"/>
                                      </p:to>
                                    </p:set>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13"/>
                                        </p:tgtEl>
                                        <p:attrNameLst>
                                          <p:attrName>style.visibility</p:attrName>
                                        </p:attrNameLst>
                                      </p:cBhvr>
                                      <p:to>
                                        <p:strVal val="visible"/>
                                      </p:to>
                                    </p:set>
                                    <p:anim calcmode="lin" valueType="num">
                                      <p:cBhvr additive="base">
                                        <p:cTn id="24" dur="500" fill="hold"/>
                                        <p:tgtEl>
                                          <p:spTgt spid="13"/>
                                        </p:tgtEl>
                                        <p:attrNameLst>
                                          <p:attrName>ppt_x</p:attrName>
                                        </p:attrNameLst>
                                      </p:cBhvr>
                                      <p:tavLst>
                                        <p:tav tm="0">
                                          <p:val>
                                            <p:strVal val="#ppt_x"/>
                                          </p:val>
                                        </p:tav>
                                        <p:tav tm="100000">
                                          <p:val>
                                            <p:strVal val="#ppt_x"/>
                                          </p:val>
                                        </p:tav>
                                      </p:tavLst>
                                    </p:anim>
                                    <p:anim calcmode="lin" valueType="num">
                                      <p:cBhvr additive="base">
                                        <p:cTn id="25"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4" fill="hold" nodeType="clickEffect">
                                  <p:stCondLst>
                                    <p:cond delay="0"/>
                                  </p:stCondLst>
                                  <p:childTnLst>
                                    <p:set>
                                      <p:cBhvr>
                                        <p:cTn id="29" dur="1" fill="hold">
                                          <p:stCondLst>
                                            <p:cond delay="0"/>
                                          </p:stCondLst>
                                        </p:cTn>
                                        <p:tgtEl>
                                          <p:spTgt spid="3"/>
                                        </p:tgtEl>
                                        <p:attrNameLst>
                                          <p:attrName>style.visibility</p:attrName>
                                        </p:attrNameLst>
                                      </p:cBhvr>
                                      <p:to>
                                        <p:strVal val="visible"/>
                                      </p:to>
                                    </p:set>
                                    <p:anim calcmode="lin" valueType="num">
                                      <p:cBhvr additive="base">
                                        <p:cTn id="30" dur="500" fill="hold"/>
                                        <p:tgtEl>
                                          <p:spTgt spid="3"/>
                                        </p:tgtEl>
                                        <p:attrNameLst>
                                          <p:attrName>ppt_x</p:attrName>
                                        </p:attrNameLst>
                                      </p:cBhvr>
                                      <p:tavLst>
                                        <p:tav tm="0">
                                          <p:val>
                                            <p:strVal val="#ppt_x"/>
                                          </p:val>
                                        </p:tav>
                                        <p:tav tm="100000">
                                          <p:val>
                                            <p:strVal val="#ppt_x"/>
                                          </p:val>
                                        </p:tav>
                                      </p:tavLst>
                                    </p:anim>
                                    <p:anim calcmode="lin" valueType="num">
                                      <p:cBhvr additive="base">
                                        <p:cTn id="31"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1" presetClass="exit" presetSubtype="0" fill="hold" nodeType="clickEffect">
                                  <p:stCondLst>
                                    <p:cond delay="0"/>
                                  </p:stCondLst>
                                  <p:childTnLst>
                                    <p:set>
                                      <p:cBhvr>
                                        <p:cTn id="35"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5485" name="think-cell Folie" r:id="rId6" imgW="344" imgH="345" progId="TCLayout.ActiveDocument.1">
                  <p:embed/>
                </p:oleObj>
              </mc:Choice>
              <mc:Fallback>
                <p:oleObj name="think-cell Folie" r:id="rId6" imgW="344" imgH="345" progId="TCLayout.ActiveDocument.1">
                  <p:embed/>
                  <p:pic>
                    <p:nvPicPr>
                      <p:cNvPr id="7" name="Objek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8" name="Rechteck 27"/>
          <p:cNvSpPr/>
          <p:nvPr/>
        </p:nvSpPr>
        <p:spPr>
          <a:xfrm>
            <a:off x="6754202" y="999270"/>
            <a:ext cx="7104694" cy="68608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defRPr/>
            </a:pPr>
            <a:r>
              <a:rPr lang="en-US" sz="1600" dirty="0">
                <a:solidFill>
                  <a:prstClr val="black"/>
                </a:solidFill>
                <a:latin typeface="Arial" panose="020B0604020202020204" pitchFamily="34" charset="0"/>
                <a:cs typeface="Arial" panose="020B0604020202020204" pitchFamily="34" charset="0"/>
                <a:sym typeface="Arial" panose="020B0604020202020204" pitchFamily="34" charset="0"/>
              </a:rPr>
              <a:t>SEEMA BHARDWAJ LL.M. (Germany)</a:t>
            </a:r>
            <a:br>
              <a:rPr lang="en-US" sz="1600" dirty="0">
                <a:solidFill>
                  <a:prstClr val="black"/>
                </a:solidFill>
                <a:latin typeface="Arial" panose="020B0604020202020204" pitchFamily="34" charset="0"/>
                <a:cs typeface="Arial" panose="020B0604020202020204" pitchFamily="34" charset="0"/>
                <a:sym typeface="Arial" panose="020B0604020202020204" pitchFamily="34" charset="0"/>
              </a:rPr>
            </a:br>
            <a:r>
              <a:rPr lang="en-US" sz="1600" dirty="0">
                <a:solidFill>
                  <a:prstClr val="black"/>
                </a:solidFill>
                <a:latin typeface="Arial" panose="020B0604020202020204" pitchFamily="34" charset="0"/>
                <a:cs typeface="Arial" panose="020B0604020202020204" pitchFamily="34" charset="0"/>
                <a:sym typeface="Arial" panose="020B0604020202020204" pitchFamily="34" charset="0"/>
              </a:rPr>
              <a:t>Attorney at Law (INDIA)</a:t>
            </a:r>
            <a:br>
              <a:rPr lang="en-US" sz="1600" dirty="0">
                <a:solidFill>
                  <a:prstClr val="black"/>
                </a:solidFill>
                <a:latin typeface="Arial" panose="020B0604020202020204" pitchFamily="34" charset="0"/>
                <a:cs typeface="Arial" panose="020B0604020202020204" pitchFamily="34" charset="0"/>
                <a:sym typeface="Arial" panose="020B0604020202020204" pitchFamily="34" charset="0"/>
              </a:rPr>
            </a:br>
            <a:r>
              <a:rPr lang="en-US" sz="1600" dirty="0">
                <a:solidFill>
                  <a:prstClr val="black"/>
                </a:solidFill>
                <a:latin typeface="Arial" panose="020B0604020202020204" pitchFamily="34" charset="0"/>
                <a:cs typeface="Arial" panose="020B0604020202020204" pitchFamily="34" charset="0"/>
                <a:sym typeface="Arial" panose="020B0604020202020204" pitchFamily="34" charset="0"/>
              </a:rPr>
              <a:t>INDIA DESK, Berlin</a:t>
            </a:r>
          </a:p>
          <a:p>
            <a:pPr lvl="0">
              <a:defRPr/>
            </a:pPr>
            <a:endParaRPr lang="en-US" sz="1600" dirty="0">
              <a:solidFill>
                <a:prstClr val="black"/>
              </a:solidFill>
              <a:latin typeface="Arial" panose="020B0604020202020204" pitchFamily="34" charset="0"/>
              <a:cs typeface="Arial" panose="020B0604020202020204" pitchFamily="34" charset="0"/>
              <a:sym typeface="Arial" panose="020B0604020202020204" pitchFamily="34" charset="0"/>
            </a:endParaRPr>
          </a:p>
          <a:p>
            <a:pPr lvl="0">
              <a:defRPr/>
            </a:pPr>
            <a:r>
              <a:rPr lang="en-US" sz="1600" dirty="0">
                <a:solidFill>
                  <a:prstClr val="black"/>
                </a:solidFill>
                <a:latin typeface="Arial" panose="020B0604020202020204" pitchFamily="34" charset="0"/>
                <a:cs typeface="Arial" panose="020B0604020202020204" pitchFamily="34" charset="0"/>
                <a:sym typeface="Arial" panose="020B0604020202020204" pitchFamily="34" charset="0"/>
              </a:rPr>
              <a:t>T +49 30 810 795 53</a:t>
            </a:r>
          </a:p>
          <a:p>
            <a:pPr lvl="0">
              <a:defRPr/>
            </a:pPr>
            <a:r>
              <a:rPr lang="en-US" sz="1600" dirty="0">
                <a:solidFill>
                  <a:prstClr val="black"/>
                </a:solidFill>
                <a:latin typeface="Arial" panose="020B0604020202020204" pitchFamily="34" charset="0"/>
                <a:cs typeface="Arial" panose="020B0604020202020204" pitchFamily="34" charset="0"/>
                <a:sym typeface="Arial" panose="020B0604020202020204" pitchFamily="34" charset="0"/>
              </a:rPr>
              <a:t>M +49 175 585 3895 </a:t>
            </a:r>
          </a:p>
          <a:p>
            <a:pPr lvl="0">
              <a:defRPr/>
            </a:pPr>
            <a:r>
              <a:rPr lang="en-US" sz="1600" dirty="0">
                <a:solidFill>
                  <a:prstClr val="black"/>
                </a:solidFill>
                <a:latin typeface="Arial" panose="020B0604020202020204" pitchFamily="34" charset="0"/>
                <a:cs typeface="Arial" panose="020B0604020202020204" pitchFamily="34" charset="0"/>
                <a:sym typeface="Arial" panose="020B0604020202020204" pitchFamily="34" charset="0"/>
                <a:hlinkClick r:id="rId8"/>
              </a:rPr>
              <a:t>seema.bhardwaj@roedl.com</a:t>
            </a:r>
            <a:endParaRPr lang="en-US" sz="1600" dirty="0">
              <a:solidFill>
                <a:prstClr val="black"/>
              </a:solidFill>
              <a:latin typeface="Arial" panose="020B0604020202020204" pitchFamily="34" charset="0"/>
              <a:cs typeface="Arial" panose="020B0604020202020204" pitchFamily="34" charset="0"/>
              <a:sym typeface="Arial" panose="020B0604020202020204" pitchFamily="34" charset="0"/>
            </a:endParaRPr>
          </a:p>
          <a:p>
            <a:pPr lvl="0">
              <a:defRPr/>
            </a:pPr>
            <a:endParaRPr lang="en-US" sz="1600" dirty="0">
              <a:solidFill>
                <a:prstClr val="black"/>
              </a:solidFill>
              <a:latin typeface="Arial" panose="020B0604020202020204" pitchFamily="34" charset="0"/>
              <a:cs typeface="Arial" panose="020B0604020202020204" pitchFamily="34" charset="0"/>
              <a:sym typeface="Arial" panose="020B0604020202020204" pitchFamily="34" charset="0"/>
            </a:endParaRPr>
          </a:p>
          <a:p>
            <a:pPr marL="216000" lvl="0" indent="-216000">
              <a:buFontTx/>
              <a:buChar char="–"/>
              <a:defRPr/>
            </a:pPr>
            <a:endParaRPr lang="en-US" sz="1600" dirty="0">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3" name="Slide Number Placeholder 2"/>
          <p:cNvSpPr>
            <a:spLocks noGrp="1"/>
          </p:cNvSpPr>
          <p:nvPr>
            <p:ph type="sldNum" sz="quarter" idx="17"/>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000" b="0" i="0" u="none" strike="noStrike" kern="1200" cap="none" spc="0" normalizeH="0" baseline="0" noProof="0" smtClean="0">
                <a:ln>
                  <a:noFill/>
                </a:ln>
                <a:solidFill>
                  <a:prstClr val="white">
                    <a:lumMod val="50000"/>
                  </a:prstClr>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de-DE" sz="100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7" name="Title 2"/>
          <p:cNvSpPr>
            <a:spLocks noGrp="1"/>
          </p:cNvSpPr>
          <p:nvPr>
            <p:ph type="title"/>
          </p:nvPr>
        </p:nvSpPr>
        <p:spPr/>
        <p:txBody>
          <a:bodyPr/>
          <a:lstStyle/>
          <a:p>
            <a:r>
              <a:rPr lang="en-IN" dirty="0"/>
              <a:t> Contact</a:t>
            </a:r>
          </a:p>
        </p:txBody>
      </p:sp>
      <p:sp>
        <p:nvSpPr>
          <p:cNvPr id="38" name="Textplatzhalter 2"/>
          <p:cNvSpPr txBox="1">
            <a:spLocks/>
          </p:cNvSpPr>
          <p:nvPr/>
        </p:nvSpPr>
        <p:spPr>
          <a:xfrm>
            <a:off x="6887522" y="4181024"/>
            <a:ext cx="4825054" cy="215444"/>
          </a:xfrm>
          <a:prstGeom prst="rect">
            <a:avLst/>
          </a:prstGeom>
        </p:spPr>
        <p:txBody>
          <a:bodyPr lIns="0" tIns="0" rIns="0" bIns="0">
            <a:sp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a:ea typeface="+mn-ea"/>
                <a:cs typeface="Arial"/>
                <a:sym typeface="Arial"/>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de-DE" sz="1400" b="0" i="0" u="none" strike="noStrike" kern="1200" cap="none" spc="0" normalizeH="0" baseline="0" noProof="0" dirty="0">
              <a:ln>
                <a:noFill/>
              </a:ln>
              <a:solidFill>
                <a:prstClr val="black"/>
              </a:solidFill>
              <a:effectLst/>
              <a:uLnTx/>
              <a:uFillTx/>
              <a:latin typeface="Arial"/>
              <a:ea typeface="+mn-ea"/>
              <a:cs typeface="Arial"/>
              <a:sym typeface="Arial"/>
            </a:endParaRPr>
          </a:p>
        </p:txBody>
      </p:sp>
      <p:cxnSp>
        <p:nvCxnSpPr>
          <p:cNvPr id="39" name="Gerader Verbinder 38"/>
          <p:cNvCxnSpPr/>
          <p:nvPr/>
        </p:nvCxnSpPr>
        <p:spPr>
          <a:xfrm>
            <a:off x="4822022" y="3541425"/>
            <a:ext cx="710645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 name="Gruppieren 1"/>
          <p:cNvGrpSpPr/>
          <p:nvPr/>
        </p:nvGrpSpPr>
        <p:grpSpPr>
          <a:xfrm>
            <a:off x="310662" y="1189893"/>
            <a:ext cx="4205489" cy="4976428"/>
            <a:chOff x="450003" y="1396668"/>
            <a:chExt cx="3825470" cy="4769652"/>
          </a:xfrm>
        </p:grpSpPr>
        <p:sp>
          <p:nvSpPr>
            <p:cNvPr id="10" name="bk object 16"/>
            <p:cNvSpPr/>
            <p:nvPr/>
          </p:nvSpPr>
          <p:spPr>
            <a:xfrm>
              <a:off x="479176" y="1974517"/>
              <a:ext cx="3796297" cy="2409718"/>
            </a:xfrm>
            <a:prstGeom prst="rect">
              <a:avLst/>
            </a:prstGeom>
            <a:blipFill>
              <a:blip r:embed="rId9"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GT America"/>
                <a:ea typeface="+mn-ea"/>
                <a:cs typeface="+mn-cs"/>
              </a:endParaRPr>
            </a:p>
          </p:txBody>
        </p:sp>
        <p:sp>
          <p:nvSpPr>
            <p:cNvPr id="11" name="object 2"/>
            <p:cNvSpPr txBox="1"/>
            <p:nvPr/>
          </p:nvSpPr>
          <p:spPr>
            <a:xfrm>
              <a:off x="639277" y="5911549"/>
              <a:ext cx="914400" cy="13970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750" b="0" i="0" u="none" strike="noStrike" kern="1200" cap="none" spc="-5" normalizeH="0" baseline="0" noProof="0" dirty="0">
                  <a:ln>
                    <a:noFill/>
                  </a:ln>
                  <a:solidFill>
                    <a:prstClr val="black"/>
                  </a:solidFill>
                  <a:effectLst/>
                  <a:uLnTx/>
                  <a:uFillTx/>
                  <a:latin typeface="GT America"/>
                  <a:ea typeface="+mn-ea"/>
                  <a:cs typeface="GT America"/>
                  <a:hlinkClick r:id="rId10"/>
                </a:rPr>
                <a:t>www.roedl.de/indien</a:t>
              </a:r>
              <a:endParaRPr kumimoji="0" sz="750" b="0" i="0" u="none" strike="noStrike" kern="1200" cap="none" spc="0" normalizeH="0" baseline="0" noProof="0">
                <a:ln>
                  <a:noFill/>
                </a:ln>
                <a:solidFill>
                  <a:prstClr val="black"/>
                </a:solidFill>
                <a:effectLst/>
                <a:uLnTx/>
                <a:uFillTx/>
                <a:latin typeface="GT America"/>
                <a:ea typeface="+mn-ea"/>
                <a:cs typeface="GT America"/>
              </a:endParaRPr>
            </a:p>
          </p:txBody>
        </p:sp>
        <p:sp>
          <p:nvSpPr>
            <p:cNvPr id="12" name="object 3"/>
            <p:cNvSpPr txBox="1"/>
            <p:nvPr/>
          </p:nvSpPr>
          <p:spPr>
            <a:xfrm>
              <a:off x="639277" y="4501849"/>
              <a:ext cx="1275080" cy="939800"/>
            </a:xfrm>
            <a:prstGeom prst="rect">
              <a:avLst/>
            </a:prstGeom>
          </p:spPr>
          <p:txBody>
            <a:bodyPr vert="horz" wrap="square" lIns="0" tIns="12700" rIns="0" bIns="0" rtlCol="0">
              <a:spAutoFit/>
            </a:bodyPr>
            <a:lstStyle/>
            <a:p>
              <a:pPr marL="12700" marR="5080" lvl="0" indent="0" algn="just" defTabSz="914400" rtl="0" eaLnBrk="1" fontAlgn="auto" latinLnBrk="0" hangingPunct="1">
                <a:lnSpc>
                  <a:spcPct val="100000"/>
                </a:lnSpc>
                <a:spcBef>
                  <a:spcPts val="100"/>
                </a:spcBef>
                <a:spcAft>
                  <a:spcPts val="0"/>
                </a:spcAft>
                <a:buClrTx/>
                <a:buSzTx/>
                <a:buFontTx/>
                <a:buNone/>
                <a:tabLst/>
                <a:defRPr/>
              </a:pPr>
              <a:r>
                <a:rPr kumimoji="0" sz="750" b="0" i="0" u="none" strike="noStrike" kern="1200" cap="none" spc="-5" normalizeH="0" baseline="0" noProof="0" dirty="0">
                  <a:ln>
                    <a:noFill/>
                  </a:ln>
                  <a:solidFill>
                    <a:prstClr val="black"/>
                  </a:solidFill>
                  <a:effectLst/>
                  <a:uLnTx/>
                  <a:uFillTx/>
                  <a:latin typeface="GT America"/>
                  <a:ea typeface="+mn-ea"/>
                  <a:cs typeface="GT America"/>
                </a:rPr>
                <a:t>As an </a:t>
              </a:r>
              <a:r>
                <a:rPr kumimoji="0" sz="750" b="0" i="0" u="none" strike="noStrike" kern="1200" cap="none" spc="-15" normalizeH="0" baseline="0" noProof="0" dirty="0">
                  <a:ln>
                    <a:noFill/>
                  </a:ln>
                  <a:solidFill>
                    <a:prstClr val="black"/>
                  </a:solidFill>
                  <a:effectLst/>
                  <a:uLnTx/>
                  <a:uFillTx/>
                  <a:latin typeface="GT America"/>
                  <a:ea typeface="+mn-ea"/>
                  <a:cs typeface="GT America"/>
                </a:rPr>
                <a:t>integrated professional  </a:t>
              </a:r>
              <a:r>
                <a:rPr kumimoji="0" sz="750" b="0" i="0" u="none" strike="noStrike" kern="1200" cap="none" spc="-10" normalizeH="0" baseline="0" noProof="0" dirty="0">
                  <a:ln>
                    <a:noFill/>
                  </a:ln>
                  <a:solidFill>
                    <a:prstClr val="black"/>
                  </a:solidFill>
                  <a:effectLst/>
                  <a:uLnTx/>
                  <a:uFillTx/>
                  <a:latin typeface="GT America"/>
                  <a:ea typeface="+mn-ea"/>
                  <a:cs typeface="GT America"/>
                </a:rPr>
                <a:t>services firm, </a:t>
              </a:r>
              <a:r>
                <a:rPr kumimoji="0" sz="750" b="0" i="0" u="none" strike="noStrike" kern="1200" cap="none" spc="-15" normalizeH="0" baseline="0" noProof="0" dirty="0">
                  <a:ln>
                    <a:noFill/>
                  </a:ln>
                  <a:solidFill>
                    <a:prstClr val="black"/>
                  </a:solidFill>
                  <a:effectLst/>
                  <a:uLnTx/>
                  <a:uFillTx/>
                  <a:latin typeface="GT America"/>
                  <a:ea typeface="+mn-ea"/>
                  <a:cs typeface="GT America"/>
                </a:rPr>
                <a:t>Rödl </a:t>
              </a:r>
              <a:r>
                <a:rPr kumimoji="0" sz="750" b="0" i="0" u="none" strike="noStrike" kern="1200" cap="none" spc="0" normalizeH="0" baseline="0" noProof="0" dirty="0">
                  <a:ln>
                    <a:noFill/>
                  </a:ln>
                  <a:solidFill>
                    <a:prstClr val="black"/>
                  </a:solidFill>
                  <a:effectLst/>
                  <a:uLnTx/>
                  <a:uFillTx/>
                  <a:latin typeface="GT America"/>
                  <a:ea typeface="+mn-ea"/>
                  <a:cs typeface="GT America"/>
                </a:rPr>
                <a:t>&amp; </a:t>
              </a:r>
              <a:r>
                <a:rPr kumimoji="0" sz="750" b="0" i="0" u="none" strike="noStrike" kern="1200" cap="none" spc="-10" normalizeH="0" baseline="0" noProof="0" dirty="0">
                  <a:ln>
                    <a:noFill/>
                  </a:ln>
                  <a:solidFill>
                    <a:prstClr val="black"/>
                  </a:solidFill>
                  <a:effectLst/>
                  <a:uLnTx/>
                  <a:uFillTx/>
                  <a:latin typeface="GT America"/>
                  <a:ea typeface="+mn-ea"/>
                  <a:cs typeface="GT America"/>
                </a:rPr>
                <a:t>Partner  </a:t>
              </a:r>
              <a:r>
                <a:rPr kumimoji="0" sz="750" b="0" i="0" u="none" strike="noStrike" kern="1200" cap="none" spc="-5" normalizeH="0" baseline="0" noProof="0" dirty="0">
                  <a:ln>
                    <a:noFill/>
                  </a:ln>
                  <a:solidFill>
                    <a:prstClr val="black"/>
                  </a:solidFill>
                  <a:effectLst/>
                  <a:uLnTx/>
                  <a:uFillTx/>
                  <a:latin typeface="GT America"/>
                  <a:ea typeface="+mn-ea"/>
                  <a:cs typeface="GT America"/>
                </a:rPr>
                <a:t>is </a:t>
              </a:r>
              <a:r>
                <a:rPr kumimoji="0" sz="750" b="0" i="0" u="none" strike="noStrike" kern="1200" cap="none" spc="-10" normalizeH="0" baseline="0" noProof="0" dirty="0">
                  <a:ln>
                    <a:noFill/>
                  </a:ln>
                  <a:solidFill>
                    <a:prstClr val="black"/>
                  </a:solidFill>
                  <a:effectLst/>
                  <a:uLnTx/>
                  <a:uFillTx/>
                  <a:latin typeface="GT America"/>
                  <a:ea typeface="+mn-ea"/>
                  <a:cs typeface="GT America"/>
                </a:rPr>
                <a:t>active at 111 </a:t>
              </a:r>
              <a:r>
                <a:rPr kumimoji="0" sz="750" b="0" i="0" u="none" strike="noStrike" kern="1200" cap="none" spc="-15" normalizeH="0" baseline="0" noProof="0" dirty="0">
                  <a:ln>
                    <a:noFill/>
                  </a:ln>
                  <a:solidFill>
                    <a:prstClr val="black"/>
                  </a:solidFill>
                  <a:effectLst/>
                  <a:uLnTx/>
                  <a:uFillTx/>
                  <a:latin typeface="GT America"/>
                  <a:ea typeface="+mn-ea"/>
                  <a:cs typeface="GT America"/>
                </a:rPr>
                <a:t>wholly-owned </a:t>
              </a:r>
              <a:r>
                <a:rPr kumimoji="0" sz="750" b="0" i="0" u="none" strike="noStrike" kern="1200" cap="none" spc="165" normalizeH="0" baseline="0" noProof="0" dirty="0">
                  <a:ln>
                    <a:noFill/>
                  </a:ln>
                  <a:solidFill>
                    <a:prstClr val="black"/>
                  </a:solidFill>
                  <a:effectLst/>
                  <a:uLnTx/>
                  <a:uFillTx/>
                  <a:latin typeface="GT America"/>
                  <a:ea typeface="+mn-ea"/>
                  <a:cs typeface="GT America"/>
                </a:rPr>
                <a:t> </a:t>
              </a:r>
              <a:r>
                <a:rPr kumimoji="0" sz="750" b="0" i="0" u="none" strike="noStrike" kern="1200" cap="none" spc="-10" normalizeH="0" baseline="0" noProof="0" dirty="0">
                  <a:ln>
                    <a:noFill/>
                  </a:ln>
                  <a:solidFill>
                    <a:prstClr val="black"/>
                  </a:solidFill>
                  <a:effectLst/>
                  <a:uLnTx/>
                  <a:uFillTx/>
                  <a:latin typeface="GT America"/>
                  <a:ea typeface="+mn-ea"/>
                  <a:cs typeface="GT America"/>
                </a:rPr>
                <a:t>locations </a:t>
              </a:r>
              <a:r>
                <a:rPr kumimoji="0" sz="750" b="0" i="0" u="none" strike="noStrike" kern="1200" cap="none" spc="-5" normalizeH="0" baseline="0" noProof="0" dirty="0">
                  <a:ln>
                    <a:noFill/>
                  </a:ln>
                  <a:solidFill>
                    <a:prstClr val="black"/>
                  </a:solidFill>
                  <a:effectLst/>
                  <a:uLnTx/>
                  <a:uFillTx/>
                  <a:latin typeface="GT America"/>
                  <a:ea typeface="+mn-ea"/>
                  <a:cs typeface="GT America"/>
                </a:rPr>
                <a:t>in 50 </a:t>
              </a:r>
              <a:r>
                <a:rPr kumimoji="0" sz="750" b="0" i="0" u="none" strike="noStrike" kern="1200" cap="none" spc="-15" normalizeH="0" baseline="0" noProof="0" dirty="0">
                  <a:ln>
                    <a:noFill/>
                  </a:ln>
                  <a:solidFill>
                    <a:prstClr val="black"/>
                  </a:solidFill>
                  <a:effectLst/>
                  <a:uLnTx/>
                  <a:uFillTx/>
                  <a:latin typeface="GT America"/>
                  <a:ea typeface="+mn-ea"/>
                  <a:cs typeface="GT America"/>
                </a:rPr>
                <a:t>countries. </a:t>
              </a:r>
              <a:r>
                <a:rPr kumimoji="0" sz="750" b="0" i="0" u="none" strike="noStrike" kern="1200" cap="none" spc="-10" normalizeH="0" baseline="0" noProof="0" dirty="0">
                  <a:ln>
                    <a:noFill/>
                  </a:ln>
                  <a:solidFill>
                    <a:prstClr val="black"/>
                  </a:solidFill>
                  <a:effectLst/>
                  <a:uLnTx/>
                  <a:uFillTx/>
                  <a:latin typeface="GT America"/>
                  <a:ea typeface="+mn-ea"/>
                  <a:cs typeface="GT America"/>
                </a:rPr>
                <a:t>Our  clients trust 4,900</a:t>
              </a:r>
              <a:r>
                <a:rPr kumimoji="0" sz="750" b="0" i="0" u="none" strike="noStrike" kern="1200" cap="none" spc="-85" normalizeH="0" baseline="0" noProof="0" dirty="0">
                  <a:ln>
                    <a:noFill/>
                  </a:ln>
                  <a:solidFill>
                    <a:prstClr val="black"/>
                  </a:solidFill>
                  <a:effectLst/>
                  <a:uLnTx/>
                  <a:uFillTx/>
                  <a:latin typeface="GT America"/>
                  <a:ea typeface="+mn-ea"/>
                  <a:cs typeface="GT America"/>
                </a:rPr>
                <a:t> </a:t>
              </a:r>
              <a:r>
                <a:rPr kumimoji="0" sz="750" b="0" i="0" u="none" strike="noStrike" kern="1200" cap="none" spc="-15" normalizeH="0" baseline="0" noProof="0" dirty="0">
                  <a:ln>
                    <a:noFill/>
                  </a:ln>
                  <a:solidFill>
                    <a:prstClr val="black"/>
                  </a:solidFill>
                  <a:effectLst/>
                  <a:uLnTx/>
                  <a:uFillTx/>
                  <a:latin typeface="GT America"/>
                  <a:ea typeface="+mn-ea"/>
                  <a:cs typeface="GT America"/>
                </a:rPr>
                <a:t>colleagues  </a:t>
              </a:r>
              <a:r>
                <a:rPr kumimoji="0" sz="750" b="0" i="0" u="none" strike="noStrike" kern="1200" cap="none" spc="-10" normalizeH="0" baseline="0" noProof="0" dirty="0">
                  <a:ln>
                    <a:noFill/>
                  </a:ln>
                  <a:solidFill>
                    <a:prstClr val="black"/>
                  </a:solidFill>
                  <a:effectLst/>
                  <a:uLnTx/>
                  <a:uFillTx/>
                  <a:latin typeface="GT America"/>
                  <a:ea typeface="+mn-ea"/>
                  <a:cs typeface="GT America"/>
                </a:rPr>
                <a:t>and </a:t>
              </a:r>
              <a:r>
                <a:rPr kumimoji="0" sz="750" b="0" i="0" u="none" strike="noStrike" kern="1200" cap="none" spc="-15" normalizeH="0" baseline="0" noProof="0" dirty="0">
                  <a:ln>
                    <a:noFill/>
                  </a:ln>
                  <a:solidFill>
                    <a:prstClr val="black"/>
                  </a:solidFill>
                  <a:effectLst/>
                  <a:uLnTx/>
                  <a:uFillTx/>
                  <a:latin typeface="GT America"/>
                  <a:ea typeface="+mn-ea"/>
                  <a:cs typeface="GT America"/>
                </a:rPr>
                <a:t>entrepreneurial</a:t>
              </a:r>
              <a:r>
                <a:rPr kumimoji="0" sz="750" b="0" i="0" u="none" strike="noStrike" kern="1200" cap="none" spc="165" normalizeH="0" baseline="0" noProof="0" dirty="0">
                  <a:ln>
                    <a:noFill/>
                  </a:ln>
                  <a:solidFill>
                    <a:prstClr val="black"/>
                  </a:solidFill>
                  <a:effectLst/>
                  <a:uLnTx/>
                  <a:uFillTx/>
                  <a:latin typeface="GT America"/>
                  <a:ea typeface="+mn-ea"/>
                  <a:cs typeface="GT America"/>
                </a:rPr>
                <a:t> </a:t>
              </a:r>
              <a:r>
                <a:rPr kumimoji="0" sz="750" b="0" i="0" u="none" strike="noStrike" kern="1200" cap="none" spc="-10" normalizeH="0" baseline="0" noProof="0" dirty="0">
                  <a:ln>
                    <a:noFill/>
                  </a:ln>
                  <a:solidFill>
                    <a:prstClr val="black"/>
                  </a:solidFill>
                  <a:effectLst/>
                  <a:uLnTx/>
                  <a:uFillTx/>
                  <a:latin typeface="GT America"/>
                  <a:ea typeface="+mn-ea"/>
                  <a:cs typeface="GT America"/>
                </a:rPr>
                <a:t>minded  partners </a:t>
              </a:r>
              <a:r>
                <a:rPr kumimoji="0" sz="750" b="0" i="0" u="none" strike="noStrike" kern="1200" cap="none" spc="-5" normalizeH="0" baseline="0" noProof="0" dirty="0">
                  <a:ln>
                    <a:noFill/>
                  </a:ln>
                  <a:solidFill>
                    <a:prstClr val="black"/>
                  </a:solidFill>
                  <a:effectLst/>
                  <a:uLnTx/>
                  <a:uFillTx/>
                  <a:latin typeface="GT America"/>
                  <a:ea typeface="+mn-ea"/>
                  <a:cs typeface="GT America"/>
                </a:rPr>
                <a:t>in </a:t>
              </a:r>
              <a:r>
                <a:rPr kumimoji="0" sz="750" b="0" i="0" u="none" strike="noStrike" kern="1200" cap="none" spc="-10" normalizeH="0" baseline="0" noProof="0" dirty="0">
                  <a:ln>
                    <a:noFill/>
                  </a:ln>
                  <a:solidFill>
                    <a:prstClr val="black"/>
                  </a:solidFill>
                  <a:effectLst/>
                  <a:uLnTx/>
                  <a:uFillTx/>
                  <a:latin typeface="GT America"/>
                  <a:ea typeface="+mn-ea"/>
                  <a:cs typeface="GT America"/>
                </a:rPr>
                <a:t>the globally provi-  ded </a:t>
              </a:r>
              <a:r>
                <a:rPr kumimoji="0" sz="750" b="0" i="0" u="none" strike="noStrike" kern="1200" cap="none" spc="-5" normalizeH="0" baseline="0" noProof="0" dirty="0">
                  <a:ln>
                    <a:noFill/>
                  </a:ln>
                  <a:solidFill>
                    <a:prstClr val="black"/>
                  </a:solidFill>
                  <a:effectLst/>
                  <a:uLnTx/>
                  <a:uFillTx/>
                  <a:latin typeface="GT America"/>
                  <a:ea typeface="+mn-ea"/>
                  <a:cs typeface="GT America"/>
                </a:rPr>
                <a:t>service</a:t>
              </a:r>
              <a:r>
                <a:rPr kumimoji="0" sz="750" b="0" i="0" u="none" strike="noStrike" kern="1200" cap="none" spc="-30" normalizeH="0" baseline="0" noProof="0" dirty="0">
                  <a:ln>
                    <a:noFill/>
                  </a:ln>
                  <a:solidFill>
                    <a:prstClr val="black"/>
                  </a:solidFill>
                  <a:effectLst/>
                  <a:uLnTx/>
                  <a:uFillTx/>
                  <a:latin typeface="GT America"/>
                  <a:ea typeface="+mn-ea"/>
                  <a:cs typeface="GT America"/>
                </a:rPr>
                <a:t> </a:t>
              </a:r>
              <a:r>
                <a:rPr kumimoji="0" sz="750" b="0" i="0" u="none" strike="noStrike" kern="1200" cap="none" spc="-10" normalizeH="0" baseline="0" noProof="0" dirty="0">
                  <a:ln>
                    <a:noFill/>
                  </a:ln>
                  <a:solidFill>
                    <a:prstClr val="black"/>
                  </a:solidFill>
                  <a:effectLst/>
                  <a:uLnTx/>
                  <a:uFillTx/>
                  <a:latin typeface="GT America"/>
                  <a:ea typeface="+mn-ea"/>
                  <a:cs typeface="GT America"/>
                </a:rPr>
                <a:t>lines.</a:t>
              </a:r>
              <a:endParaRPr kumimoji="0" sz="750" b="0" i="0" u="none" strike="noStrike" kern="1200" cap="none" spc="0" normalizeH="0" baseline="0" noProof="0">
                <a:ln>
                  <a:noFill/>
                </a:ln>
                <a:solidFill>
                  <a:prstClr val="black"/>
                </a:solidFill>
                <a:effectLst/>
                <a:uLnTx/>
                <a:uFillTx/>
                <a:latin typeface="GT America"/>
                <a:ea typeface="+mn-ea"/>
                <a:cs typeface="GT America"/>
              </a:endParaRPr>
            </a:p>
          </p:txBody>
        </p:sp>
        <p:sp>
          <p:nvSpPr>
            <p:cNvPr id="13" name="object 4"/>
            <p:cNvSpPr/>
            <p:nvPr/>
          </p:nvSpPr>
          <p:spPr>
            <a:xfrm>
              <a:off x="479177" y="4384235"/>
              <a:ext cx="3780154" cy="0"/>
            </a:xfrm>
            <a:custGeom>
              <a:avLst/>
              <a:gdLst/>
              <a:ahLst/>
              <a:cxnLst/>
              <a:rect l="l" t="t" r="r" b="b"/>
              <a:pathLst>
                <a:path w="3780154">
                  <a:moveTo>
                    <a:pt x="0" y="0"/>
                  </a:moveTo>
                  <a:lnTo>
                    <a:pt x="3780002" y="0"/>
                  </a:lnTo>
                </a:path>
              </a:pathLst>
            </a:custGeom>
            <a:ln w="7073">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GT America"/>
                <a:ea typeface="+mn-ea"/>
                <a:cs typeface="+mn-cs"/>
              </a:endParaRPr>
            </a:p>
          </p:txBody>
        </p:sp>
        <p:sp>
          <p:nvSpPr>
            <p:cNvPr id="14" name="object 5"/>
            <p:cNvSpPr/>
            <p:nvPr/>
          </p:nvSpPr>
          <p:spPr>
            <a:xfrm>
              <a:off x="2061628" y="4380700"/>
              <a:ext cx="0" cy="1785620"/>
            </a:xfrm>
            <a:custGeom>
              <a:avLst/>
              <a:gdLst/>
              <a:ahLst/>
              <a:cxnLst/>
              <a:rect l="l" t="t" r="r" b="b"/>
              <a:pathLst>
                <a:path h="1785620">
                  <a:moveTo>
                    <a:pt x="0" y="0"/>
                  </a:moveTo>
                  <a:lnTo>
                    <a:pt x="0" y="1785199"/>
                  </a:lnTo>
                </a:path>
              </a:pathLst>
            </a:custGeom>
            <a:ln w="7073">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GT America"/>
                <a:ea typeface="+mn-ea"/>
                <a:cs typeface="+mn-cs"/>
              </a:endParaRPr>
            </a:p>
          </p:txBody>
        </p:sp>
        <p:sp>
          <p:nvSpPr>
            <p:cNvPr id="15" name="object 7"/>
            <p:cNvSpPr/>
            <p:nvPr/>
          </p:nvSpPr>
          <p:spPr>
            <a:xfrm>
              <a:off x="479177" y="1980899"/>
              <a:ext cx="3780154" cy="0"/>
            </a:xfrm>
            <a:custGeom>
              <a:avLst/>
              <a:gdLst/>
              <a:ahLst/>
              <a:cxnLst/>
              <a:rect l="l" t="t" r="r" b="b"/>
              <a:pathLst>
                <a:path w="3780154">
                  <a:moveTo>
                    <a:pt x="0" y="0"/>
                  </a:moveTo>
                  <a:lnTo>
                    <a:pt x="3780002" y="0"/>
                  </a:lnTo>
                </a:path>
              </a:pathLst>
            </a:custGeom>
            <a:ln w="7073">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GT America"/>
                <a:ea typeface="+mn-ea"/>
                <a:cs typeface="+mn-cs"/>
              </a:endParaRPr>
            </a:p>
          </p:txBody>
        </p:sp>
        <p:sp>
          <p:nvSpPr>
            <p:cNvPr id="16" name="object 8"/>
            <p:cNvSpPr txBox="1"/>
            <p:nvPr/>
          </p:nvSpPr>
          <p:spPr>
            <a:xfrm>
              <a:off x="2200380" y="4499748"/>
              <a:ext cx="912494" cy="13970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750" b="0" i="0" u="none" strike="noStrike" kern="1200" cap="none" spc="-25" normalizeH="0" baseline="0" noProof="0" dirty="0">
                  <a:ln>
                    <a:noFill/>
                  </a:ln>
                  <a:solidFill>
                    <a:prstClr val="black"/>
                  </a:solidFill>
                  <a:effectLst/>
                  <a:uLnTx/>
                  <a:uFillTx/>
                  <a:latin typeface="GT America"/>
                  <a:ea typeface="+mn-ea"/>
                  <a:cs typeface="GT America"/>
                </a:rPr>
                <a:t>Your </a:t>
              </a:r>
              <a:r>
                <a:rPr kumimoji="0" sz="750" b="0" i="0" u="none" strike="noStrike" kern="1200" cap="none" spc="-15" normalizeH="0" baseline="0" noProof="0" dirty="0">
                  <a:ln>
                    <a:noFill/>
                  </a:ln>
                  <a:solidFill>
                    <a:prstClr val="black"/>
                  </a:solidFill>
                  <a:effectLst/>
                  <a:uLnTx/>
                  <a:uFillTx/>
                  <a:latin typeface="GT America"/>
                  <a:ea typeface="+mn-ea"/>
                  <a:cs typeface="GT America"/>
                </a:rPr>
                <a:t>contact</a:t>
              </a:r>
              <a:r>
                <a:rPr kumimoji="0" sz="750" b="0" i="0" u="none" strike="noStrike" kern="1200" cap="none" spc="-25" normalizeH="0" baseline="0" noProof="0" dirty="0">
                  <a:ln>
                    <a:noFill/>
                  </a:ln>
                  <a:solidFill>
                    <a:prstClr val="black"/>
                  </a:solidFill>
                  <a:effectLst/>
                  <a:uLnTx/>
                  <a:uFillTx/>
                  <a:latin typeface="GT America"/>
                  <a:ea typeface="+mn-ea"/>
                  <a:cs typeface="GT America"/>
                </a:rPr>
                <a:t> </a:t>
              </a:r>
              <a:r>
                <a:rPr kumimoji="0" sz="750" b="0" i="0" u="none" strike="noStrike" kern="1200" cap="none" spc="-15" normalizeH="0" baseline="0" noProof="0" dirty="0">
                  <a:ln>
                    <a:noFill/>
                  </a:ln>
                  <a:solidFill>
                    <a:prstClr val="black"/>
                  </a:solidFill>
                  <a:effectLst/>
                  <a:uLnTx/>
                  <a:uFillTx/>
                  <a:latin typeface="GT America"/>
                  <a:ea typeface="+mn-ea"/>
                  <a:cs typeface="GT America"/>
                </a:rPr>
                <a:t>persons</a:t>
              </a:r>
              <a:endParaRPr kumimoji="0" sz="750" b="0" i="0" u="none" strike="noStrike" kern="1200" cap="none" spc="0" normalizeH="0" baseline="0" noProof="0">
                <a:ln>
                  <a:noFill/>
                </a:ln>
                <a:solidFill>
                  <a:prstClr val="black"/>
                </a:solidFill>
                <a:effectLst/>
                <a:uLnTx/>
                <a:uFillTx/>
                <a:latin typeface="GT America"/>
                <a:ea typeface="+mn-ea"/>
                <a:cs typeface="GT America"/>
              </a:endParaRPr>
            </a:p>
          </p:txBody>
        </p:sp>
        <p:sp>
          <p:nvSpPr>
            <p:cNvPr id="17" name="object 9"/>
            <p:cNvSpPr txBox="1"/>
            <p:nvPr/>
          </p:nvSpPr>
          <p:spPr>
            <a:xfrm>
              <a:off x="2200380" y="4692349"/>
              <a:ext cx="1002665" cy="657225"/>
            </a:xfrm>
            <a:prstGeom prst="rect">
              <a:avLst/>
            </a:prstGeom>
          </p:spPr>
          <p:txBody>
            <a:bodyPr vert="horz" wrap="square" lIns="0" tIns="13970" rIns="0" bIns="0" rtlCol="0">
              <a:spAutoFit/>
            </a:bodyPr>
            <a:lstStyle/>
            <a:p>
              <a:pPr marL="12700" marR="415925" lvl="0" indent="0" algn="l" defTabSz="914400" rtl="0" eaLnBrk="1" fontAlgn="auto" latinLnBrk="0" hangingPunct="1">
                <a:lnSpc>
                  <a:spcPct val="130400"/>
                </a:lnSpc>
                <a:spcBef>
                  <a:spcPts val="110"/>
                </a:spcBef>
                <a:spcAft>
                  <a:spcPts val="0"/>
                </a:spcAft>
                <a:buClrTx/>
                <a:buSzTx/>
                <a:buFontTx/>
                <a:buNone/>
                <a:tabLst/>
                <a:defRPr/>
              </a:pPr>
              <a:r>
                <a:rPr kumimoji="0" sz="750" b="1" i="0" u="none" strike="noStrike" kern="1200" cap="none" spc="-10" normalizeH="0" baseline="0" noProof="0" dirty="0">
                  <a:ln>
                    <a:noFill/>
                  </a:ln>
                  <a:solidFill>
                    <a:prstClr val="black"/>
                  </a:solidFill>
                  <a:effectLst/>
                  <a:uLnTx/>
                  <a:uFillTx/>
                  <a:latin typeface="GT America Bold"/>
                  <a:ea typeface="+mn-ea"/>
                  <a:cs typeface="GT America Bold"/>
                </a:rPr>
                <a:t>Germany  </a:t>
              </a:r>
              <a:r>
                <a:rPr kumimoji="0" sz="750" b="0" i="0" u="none" strike="noStrike" kern="1200" cap="none" spc="-15" normalizeH="0" baseline="0" noProof="0" dirty="0">
                  <a:ln>
                    <a:noFill/>
                  </a:ln>
                  <a:solidFill>
                    <a:prstClr val="black"/>
                  </a:solidFill>
                  <a:effectLst/>
                  <a:uLnTx/>
                  <a:uFillTx/>
                  <a:latin typeface="GT America"/>
                  <a:ea typeface="+mn-ea"/>
                  <a:cs typeface="GT America"/>
                </a:rPr>
                <a:t>Nuremberg  </a:t>
              </a:r>
              <a:r>
                <a:rPr kumimoji="0" sz="650" b="0" i="0" u="none" strike="noStrike" kern="1200" cap="none" spc="5" normalizeH="0" baseline="0" noProof="0" dirty="0">
                  <a:ln>
                    <a:noFill/>
                  </a:ln>
                  <a:solidFill>
                    <a:prstClr val="black"/>
                  </a:solidFill>
                  <a:effectLst/>
                  <a:uLnTx/>
                  <a:uFillTx/>
                  <a:latin typeface="GT America"/>
                  <a:ea typeface="+mn-ea"/>
                  <a:cs typeface="GT America"/>
                </a:rPr>
                <a:t>Martin</a:t>
              </a:r>
              <a:r>
                <a:rPr kumimoji="0" sz="650" b="0" i="0" u="none" strike="noStrike" kern="1200" cap="none" spc="-55" normalizeH="0" baseline="0" noProof="0" dirty="0">
                  <a:ln>
                    <a:noFill/>
                  </a:ln>
                  <a:solidFill>
                    <a:prstClr val="black"/>
                  </a:solidFill>
                  <a:effectLst/>
                  <a:uLnTx/>
                  <a:uFillTx/>
                  <a:latin typeface="GT America"/>
                  <a:ea typeface="+mn-ea"/>
                  <a:cs typeface="GT America"/>
                </a:rPr>
                <a:t> </a:t>
              </a:r>
              <a:r>
                <a:rPr kumimoji="0" sz="650" b="0" i="0" u="none" strike="noStrike" kern="1200" cap="none" spc="0" normalizeH="0" baseline="0" noProof="0" dirty="0">
                  <a:ln>
                    <a:noFill/>
                  </a:ln>
                  <a:solidFill>
                    <a:prstClr val="black"/>
                  </a:solidFill>
                  <a:effectLst/>
                  <a:uLnTx/>
                  <a:uFillTx/>
                  <a:latin typeface="GT America"/>
                  <a:ea typeface="+mn-ea"/>
                  <a:cs typeface="GT America"/>
                </a:rPr>
                <a:t>Wörlein</a:t>
              </a: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baseline="0" noProof="0" dirty="0">
                  <a:ln>
                    <a:noFill/>
                  </a:ln>
                  <a:solidFill>
                    <a:prstClr val="black"/>
                  </a:solidFill>
                  <a:effectLst/>
                  <a:uLnTx/>
                  <a:uFillTx/>
                  <a:latin typeface="GT America"/>
                  <a:ea typeface="+mn-ea"/>
                  <a:cs typeface="GT America"/>
                </a:rPr>
                <a:t>T + 49 911 9193</a:t>
              </a:r>
              <a:r>
                <a:rPr kumimoji="0" sz="650" b="0" i="0" u="none" strike="noStrike" kern="1200" cap="none" spc="-114" normalizeH="0" baseline="0" noProof="0" dirty="0">
                  <a:ln>
                    <a:noFill/>
                  </a:ln>
                  <a:solidFill>
                    <a:prstClr val="black"/>
                  </a:solidFill>
                  <a:effectLst/>
                  <a:uLnTx/>
                  <a:uFillTx/>
                  <a:latin typeface="GT America"/>
                  <a:ea typeface="+mn-ea"/>
                  <a:cs typeface="GT America"/>
                </a:rPr>
                <a:t> </a:t>
              </a:r>
              <a:r>
                <a:rPr kumimoji="0" sz="650" b="0" i="0" u="none" strike="noStrike" kern="1200" cap="none" spc="0" normalizeH="0" baseline="0" noProof="0" dirty="0">
                  <a:ln>
                    <a:noFill/>
                  </a:ln>
                  <a:solidFill>
                    <a:prstClr val="black"/>
                  </a:solidFill>
                  <a:effectLst/>
                  <a:uLnTx/>
                  <a:uFillTx/>
                  <a:latin typeface="GT America"/>
                  <a:ea typeface="+mn-ea"/>
                  <a:cs typeface="GT America"/>
                </a:rPr>
                <a:t>3010</a:t>
              </a: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650" b="0" i="0" u="none" strike="noStrike" kern="1200" cap="none" spc="-15" normalizeH="0" baseline="0" noProof="0" dirty="0">
                  <a:ln>
                    <a:noFill/>
                  </a:ln>
                  <a:solidFill>
                    <a:prstClr val="black"/>
                  </a:solidFill>
                  <a:effectLst/>
                  <a:uLnTx/>
                  <a:uFillTx/>
                  <a:latin typeface="GT America"/>
                  <a:ea typeface="+mn-ea"/>
                  <a:cs typeface="GT America"/>
                  <a:hlinkClick r:id="rId11"/>
                </a:rPr>
                <a:t>martin.woerlein@roedl.com</a:t>
              </a:r>
              <a:endParaRPr kumimoji="0" sz="650" b="0" i="0" u="none" strike="noStrike" kern="1200" cap="none" spc="0" normalizeH="0" baseline="0" noProof="0" dirty="0">
                <a:ln>
                  <a:noFill/>
                </a:ln>
                <a:solidFill>
                  <a:prstClr val="black"/>
                </a:solidFill>
                <a:effectLst/>
                <a:uLnTx/>
                <a:uFillTx/>
                <a:latin typeface="GT America"/>
                <a:ea typeface="+mn-ea"/>
                <a:cs typeface="GT America"/>
              </a:endParaRPr>
            </a:p>
          </p:txBody>
        </p:sp>
        <p:sp>
          <p:nvSpPr>
            <p:cNvPr id="18" name="object 10"/>
            <p:cNvSpPr txBox="1"/>
            <p:nvPr/>
          </p:nvSpPr>
          <p:spPr>
            <a:xfrm>
              <a:off x="3292376" y="5462553"/>
              <a:ext cx="869950" cy="485775"/>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750" b="0" i="0" u="none" strike="noStrike" kern="1200" cap="none" spc="-10" normalizeH="0" baseline="0" noProof="0" dirty="0">
                  <a:ln>
                    <a:noFill/>
                  </a:ln>
                  <a:solidFill>
                    <a:prstClr val="black"/>
                  </a:solidFill>
                  <a:effectLst/>
                  <a:uLnTx/>
                  <a:uFillTx/>
                  <a:latin typeface="GT America"/>
                  <a:ea typeface="+mn-ea"/>
                  <a:cs typeface="GT America"/>
                </a:rPr>
                <a:t>Mumbai </a:t>
              </a:r>
              <a:r>
                <a:rPr kumimoji="0" sz="750" b="0" i="0" u="none" strike="noStrike" kern="1200" cap="none" spc="0" normalizeH="0" baseline="0" noProof="0" dirty="0">
                  <a:ln>
                    <a:noFill/>
                  </a:ln>
                  <a:solidFill>
                    <a:prstClr val="black"/>
                  </a:solidFill>
                  <a:effectLst/>
                  <a:uLnTx/>
                  <a:uFillTx/>
                  <a:latin typeface="GT America"/>
                  <a:ea typeface="+mn-ea"/>
                  <a:cs typeface="GT America"/>
                </a:rPr>
                <a:t>/ </a:t>
              </a:r>
              <a:r>
                <a:rPr kumimoji="0" sz="750" b="0" i="0" u="none" strike="noStrike" kern="1200" cap="none" spc="-10" normalizeH="0" baseline="0" noProof="0" dirty="0">
                  <a:ln>
                    <a:noFill/>
                  </a:ln>
                  <a:solidFill>
                    <a:prstClr val="black"/>
                  </a:solidFill>
                  <a:effectLst/>
                  <a:uLnTx/>
                  <a:uFillTx/>
                  <a:latin typeface="GT America"/>
                  <a:ea typeface="+mn-ea"/>
                  <a:cs typeface="GT America"/>
                </a:rPr>
                <a:t>Pune </a:t>
              </a:r>
              <a:r>
                <a:rPr kumimoji="0" sz="750" b="0" i="0" u="none" strike="noStrike" kern="1200" cap="none" spc="0" normalizeH="0" baseline="0" noProof="0" dirty="0">
                  <a:ln>
                    <a:noFill/>
                  </a:ln>
                  <a:solidFill>
                    <a:prstClr val="black"/>
                  </a:solidFill>
                  <a:effectLst/>
                  <a:uLnTx/>
                  <a:uFillTx/>
                  <a:latin typeface="GT America"/>
                  <a:ea typeface="+mn-ea"/>
                  <a:cs typeface="GT America"/>
                </a:rPr>
                <a:t>/  </a:t>
              </a:r>
              <a:r>
                <a:rPr kumimoji="0" sz="750" b="0" i="0" u="none" strike="noStrike" kern="1200" cap="none" spc="-10" normalizeH="0" baseline="0" noProof="0" dirty="0">
                  <a:ln>
                    <a:noFill/>
                  </a:ln>
                  <a:solidFill>
                    <a:prstClr val="black"/>
                  </a:solidFill>
                  <a:effectLst/>
                  <a:uLnTx/>
                  <a:uFillTx/>
                  <a:latin typeface="GT America"/>
                  <a:ea typeface="+mn-ea"/>
                  <a:cs typeface="GT America"/>
                </a:rPr>
                <a:t>Chennai</a:t>
              </a:r>
              <a:r>
                <a:rPr kumimoji="0" sz="750" b="0" i="0" u="none" strike="noStrike" kern="1200" cap="none" spc="-130" normalizeH="0" baseline="0" noProof="0" dirty="0">
                  <a:ln>
                    <a:noFill/>
                  </a:ln>
                  <a:solidFill>
                    <a:prstClr val="black"/>
                  </a:solidFill>
                  <a:effectLst/>
                  <a:uLnTx/>
                  <a:uFillTx/>
                  <a:latin typeface="GT America"/>
                  <a:ea typeface="+mn-ea"/>
                  <a:cs typeface="GT America"/>
                </a:rPr>
                <a:t> </a:t>
              </a:r>
              <a:r>
                <a:rPr kumimoji="0" sz="750" b="0" i="0" u="none" strike="noStrike" kern="1200" cap="none" spc="0" normalizeH="0" baseline="0" noProof="0" dirty="0">
                  <a:ln>
                    <a:noFill/>
                  </a:ln>
                  <a:solidFill>
                    <a:prstClr val="black"/>
                  </a:solidFill>
                  <a:effectLst/>
                  <a:uLnTx/>
                  <a:uFillTx/>
                  <a:latin typeface="GT America"/>
                  <a:ea typeface="+mn-ea"/>
                  <a:cs typeface="GT America"/>
                </a:rPr>
                <a:t>/</a:t>
              </a:r>
              <a:r>
                <a:rPr kumimoji="0" sz="750" b="0" i="0" u="none" strike="noStrike" kern="1200" cap="none" spc="-130" normalizeH="0" baseline="0" noProof="0" dirty="0">
                  <a:ln>
                    <a:noFill/>
                  </a:ln>
                  <a:solidFill>
                    <a:prstClr val="black"/>
                  </a:solidFill>
                  <a:effectLst/>
                  <a:uLnTx/>
                  <a:uFillTx/>
                  <a:latin typeface="GT America"/>
                  <a:ea typeface="+mn-ea"/>
                  <a:cs typeface="GT America"/>
                </a:rPr>
                <a:t> </a:t>
              </a:r>
              <a:r>
                <a:rPr kumimoji="0" sz="750" b="0" i="0" u="none" strike="noStrike" kern="1200" cap="none" spc="-15" normalizeH="0" baseline="0" noProof="0" dirty="0">
                  <a:ln>
                    <a:noFill/>
                  </a:ln>
                  <a:solidFill>
                    <a:prstClr val="black"/>
                  </a:solidFill>
                  <a:effectLst/>
                  <a:uLnTx/>
                  <a:uFillTx/>
                  <a:latin typeface="GT America"/>
                  <a:ea typeface="+mn-ea"/>
                  <a:cs typeface="GT America"/>
                </a:rPr>
                <a:t>Bangalore</a:t>
              </a:r>
              <a:endParaRPr kumimoji="0" sz="750" b="0" i="0" u="none" strike="noStrike" kern="1200" cap="none" spc="0" normalizeH="0" baseline="0" noProof="0">
                <a:ln>
                  <a:noFill/>
                </a:ln>
                <a:solidFill>
                  <a:prstClr val="black"/>
                </a:solidFill>
                <a:effectLst/>
                <a:uLnTx/>
                <a:uFillTx/>
                <a:latin typeface="GT America"/>
                <a:ea typeface="+mn-ea"/>
                <a:cs typeface="GT America"/>
              </a:endParaRPr>
            </a:p>
            <a:p>
              <a:pPr marL="12700" marR="0" lvl="0" indent="0" algn="l" defTabSz="914400" rtl="0" eaLnBrk="1" fontAlgn="auto" latinLnBrk="0" hangingPunct="1">
                <a:lnSpc>
                  <a:spcPct val="100000"/>
                </a:lnSpc>
                <a:spcBef>
                  <a:spcPts val="260"/>
                </a:spcBef>
                <a:spcAft>
                  <a:spcPts val="0"/>
                </a:spcAft>
                <a:buClrTx/>
                <a:buSzTx/>
                <a:buFontTx/>
                <a:buNone/>
                <a:tabLst/>
                <a:defRPr/>
              </a:pPr>
              <a:r>
                <a:rPr kumimoji="0" sz="650" b="0" i="0" u="none" strike="noStrike" kern="1200" cap="none" spc="0" normalizeH="0" baseline="0" noProof="0" dirty="0">
                  <a:ln>
                    <a:noFill/>
                  </a:ln>
                  <a:solidFill>
                    <a:prstClr val="black"/>
                  </a:solidFill>
                  <a:effectLst/>
                  <a:uLnTx/>
                  <a:uFillTx/>
                  <a:latin typeface="GT America"/>
                  <a:ea typeface="+mn-ea"/>
                  <a:cs typeface="GT America"/>
                </a:rPr>
                <a:t>Rahul</a:t>
              </a:r>
              <a:r>
                <a:rPr kumimoji="0" sz="650" b="0" i="0" u="none" strike="noStrike" kern="1200" cap="none" spc="5" normalizeH="0" baseline="0" noProof="0" dirty="0">
                  <a:ln>
                    <a:noFill/>
                  </a:ln>
                  <a:solidFill>
                    <a:prstClr val="black"/>
                  </a:solidFill>
                  <a:effectLst/>
                  <a:uLnTx/>
                  <a:uFillTx/>
                  <a:latin typeface="GT America"/>
                  <a:ea typeface="+mn-ea"/>
                  <a:cs typeface="GT America"/>
                </a:rPr>
                <a:t> </a:t>
              </a:r>
              <a:r>
                <a:rPr kumimoji="0" sz="650" b="0" i="0" u="none" strike="noStrike" kern="1200" cap="none" spc="-5" normalizeH="0" baseline="0" noProof="0" dirty="0">
                  <a:ln>
                    <a:noFill/>
                  </a:ln>
                  <a:solidFill>
                    <a:prstClr val="black"/>
                  </a:solidFill>
                  <a:effectLst/>
                  <a:uLnTx/>
                  <a:uFillTx/>
                  <a:latin typeface="GT America"/>
                  <a:ea typeface="+mn-ea"/>
                  <a:cs typeface="GT America"/>
                </a:rPr>
                <a:t>Oza</a:t>
              </a:r>
              <a:endParaRPr kumimoji="0" sz="650" b="0" i="0" u="none" strike="noStrike" kern="1200" cap="none" spc="0" normalizeH="0" baseline="0" noProof="0">
                <a:ln>
                  <a:noFill/>
                </a:ln>
                <a:solidFill>
                  <a:prstClr val="black"/>
                </a:solidFill>
                <a:effectLst/>
                <a:uLnTx/>
                <a:uFillTx/>
                <a:latin typeface="GT America"/>
                <a:ea typeface="+mn-ea"/>
                <a:cs typeface="GT America"/>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baseline="0" noProof="0" dirty="0">
                  <a:ln>
                    <a:noFill/>
                  </a:ln>
                  <a:solidFill>
                    <a:prstClr val="black"/>
                  </a:solidFill>
                  <a:effectLst/>
                  <a:uLnTx/>
                  <a:uFillTx/>
                  <a:latin typeface="GT America"/>
                  <a:ea typeface="+mn-ea"/>
                  <a:cs typeface="GT America"/>
                </a:rPr>
                <a:t>T + 91 </a:t>
              </a:r>
              <a:r>
                <a:rPr kumimoji="0" sz="650" b="0" i="0" u="none" strike="noStrike" kern="1200" cap="none" spc="-5" normalizeH="0" baseline="0" noProof="0" dirty="0">
                  <a:ln>
                    <a:noFill/>
                  </a:ln>
                  <a:solidFill>
                    <a:prstClr val="black"/>
                  </a:solidFill>
                  <a:effectLst/>
                  <a:uLnTx/>
                  <a:uFillTx/>
                  <a:latin typeface="GT America"/>
                  <a:ea typeface="+mn-ea"/>
                  <a:cs typeface="GT America"/>
                </a:rPr>
                <a:t>20 </a:t>
              </a:r>
              <a:r>
                <a:rPr kumimoji="0" sz="650" b="0" i="0" u="none" strike="noStrike" kern="1200" cap="none" spc="0" normalizeH="0" baseline="0" noProof="0" dirty="0">
                  <a:ln>
                    <a:noFill/>
                  </a:ln>
                  <a:solidFill>
                    <a:prstClr val="black"/>
                  </a:solidFill>
                  <a:effectLst/>
                  <a:uLnTx/>
                  <a:uFillTx/>
                  <a:latin typeface="GT America"/>
                  <a:ea typeface="+mn-ea"/>
                  <a:cs typeface="GT America"/>
                </a:rPr>
                <a:t>6625</a:t>
              </a:r>
              <a:r>
                <a:rPr kumimoji="0" sz="650" b="0" i="0" u="none" strike="noStrike" kern="1200" cap="none" spc="40" normalizeH="0" baseline="0" noProof="0" dirty="0">
                  <a:ln>
                    <a:noFill/>
                  </a:ln>
                  <a:solidFill>
                    <a:prstClr val="black"/>
                  </a:solidFill>
                  <a:effectLst/>
                  <a:uLnTx/>
                  <a:uFillTx/>
                  <a:latin typeface="GT America"/>
                  <a:ea typeface="+mn-ea"/>
                  <a:cs typeface="GT America"/>
                </a:rPr>
                <a:t> </a:t>
              </a:r>
              <a:r>
                <a:rPr kumimoji="0" sz="650" b="0" i="0" u="none" strike="noStrike" kern="1200" cap="none" spc="0" normalizeH="0" baseline="0" noProof="0" dirty="0">
                  <a:ln>
                    <a:noFill/>
                  </a:ln>
                  <a:solidFill>
                    <a:prstClr val="black"/>
                  </a:solidFill>
                  <a:effectLst/>
                  <a:uLnTx/>
                  <a:uFillTx/>
                  <a:latin typeface="GT America"/>
                  <a:ea typeface="+mn-ea"/>
                  <a:cs typeface="GT America"/>
                </a:rPr>
                <a:t>7100</a:t>
              </a:r>
              <a:endParaRPr kumimoji="0" sz="650" b="0" i="0" u="none" strike="noStrike" kern="1200" cap="none" spc="0" normalizeH="0" baseline="0" noProof="0">
                <a:ln>
                  <a:noFill/>
                </a:ln>
                <a:solidFill>
                  <a:prstClr val="black"/>
                </a:solidFill>
                <a:effectLst/>
                <a:uLnTx/>
                <a:uFillTx/>
                <a:latin typeface="GT America"/>
                <a:ea typeface="+mn-ea"/>
                <a:cs typeface="GT America"/>
              </a:endParaRPr>
            </a:p>
          </p:txBody>
        </p:sp>
        <p:sp>
          <p:nvSpPr>
            <p:cNvPr id="19" name="object 11"/>
            <p:cNvSpPr txBox="1"/>
            <p:nvPr/>
          </p:nvSpPr>
          <p:spPr>
            <a:xfrm>
              <a:off x="2200380" y="5462553"/>
              <a:ext cx="279400" cy="13970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750" b="0" i="0" u="none" strike="noStrike" kern="1200" cap="none" spc="-10" normalizeH="0" baseline="0" noProof="0" dirty="0">
                  <a:ln>
                    <a:noFill/>
                  </a:ln>
                  <a:solidFill>
                    <a:prstClr val="black"/>
                  </a:solidFill>
                  <a:effectLst/>
                  <a:uLnTx/>
                  <a:uFillTx/>
                  <a:latin typeface="GT America"/>
                  <a:ea typeface="+mn-ea"/>
                  <a:cs typeface="GT America"/>
                </a:rPr>
                <a:t>B</a:t>
              </a:r>
              <a:r>
                <a:rPr kumimoji="0" sz="750" b="0" i="0" u="none" strike="noStrike" kern="1200" cap="none" spc="0" normalizeH="0" baseline="0" noProof="0" dirty="0">
                  <a:ln>
                    <a:noFill/>
                  </a:ln>
                  <a:solidFill>
                    <a:prstClr val="black"/>
                  </a:solidFill>
                  <a:effectLst/>
                  <a:uLnTx/>
                  <a:uFillTx/>
                  <a:latin typeface="GT America"/>
                  <a:ea typeface="+mn-ea"/>
                  <a:cs typeface="GT America"/>
                </a:rPr>
                <a:t>erlin</a:t>
              </a:r>
              <a:endParaRPr kumimoji="0" sz="750" b="0" i="0" u="none" strike="noStrike" kern="1200" cap="none" spc="0" normalizeH="0" baseline="0" noProof="0">
                <a:ln>
                  <a:noFill/>
                </a:ln>
                <a:solidFill>
                  <a:prstClr val="black"/>
                </a:solidFill>
                <a:effectLst/>
                <a:uLnTx/>
                <a:uFillTx/>
                <a:latin typeface="GT America"/>
                <a:ea typeface="+mn-ea"/>
                <a:cs typeface="GT America"/>
              </a:endParaRPr>
            </a:p>
          </p:txBody>
        </p:sp>
        <p:sp>
          <p:nvSpPr>
            <p:cNvPr id="20" name="object 12"/>
            <p:cNvSpPr txBox="1"/>
            <p:nvPr/>
          </p:nvSpPr>
          <p:spPr>
            <a:xfrm>
              <a:off x="2200380" y="5723782"/>
              <a:ext cx="815975" cy="223520"/>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650" b="0" i="0" u="none" strike="noStrike" kern="1200" cap="none" spc="0" normalizeH="0" baseline="0" noProof="0" dirty="0">
                  <a:ln>
                    <a:noFill/>
                  </a:ln>
                  <a:solidFill>
                    <a:prstClr val="black"/>
                  </a:solidFill>
                  <a:effectLst/>
                  <a:uLnTx/>
                  <a:uFillTx/>
                  <a:latin typeface="GT America"/>
                  <a:ea typeface="+mn-ea"/>
                  <a:cs typeface="GT America"/>
                </a:rPr>
                <a:t>Seema Bhardwaj</a:t>
              </a:r>
              <a:endParaRPr kumimoji="0" sz="650" b="0" i="0" u="none" strike="noStrike" kern="1200" cap="none" spc="0" normalizeH="0" baseline="0" noProof="0">
                <a:ln>
                  <a:noFill/>
                </a:ln>
                <a:solidFill>
                  <a:prstClr val="black"/>
                </a:solidFill>
                <a:effectLst/>
                <a:uLnTx/>
                <a:uFillTx/>
                <a:latin typeface="GT America"/>
                <a:ea typeface="+mn-ea"/>
                <a:cs typeface="GT America"/>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baseline="0" noProof="0" dirty="0">
                  <a:ln>
                    <a:noFill/>
                  </a:ln>
                  <a:solidFill>
                    <a:prstClr val="black"/>
                  </a:solidFill>
                  <a:effectLst/>
                  <a:uLnTx/>
                  <a:uFillTx/>
                  <a:latin typeface="GT America"/>
                  <a:ea typeface="+mn-ea"/>
                  <a:cs typeface="GT America"/>
                </a:rPr>
                <a:t>T + 49 30 </a:t>
              </a:r>
              <a:r>
                <a:rPr kumimoji="0" sz="650" b="0" i="0" u="none" strike="noStrike" kern="1200" cap="none" spc="-5" normalizeH="0" baseline="0" noProof="0" dirty="0">
                  <a:ln>
                    <a:noFill/>
                  </a:ln>
                  <a:solidFill>
                    <a:prstClr val="black"/>
                  </a:solidFill>
                  <a:effectLst/>
                  <a:uLnTx/>
                  <a:uFillTx/>
                  <a:latin typeface="GT America"/>
                  <a:ea typeface="+mn-ea"/>
                  <a:cs typeface="GT America"/>
                </a:rPr>
                <a:t>8107</a:t>
              </a:r>
              <a:r>
                <a:rPr kumimoji="0" sz="650" b="0" i="0" u="none" strike="noStrike" kern="1200" cap="none" spc="15" normalizeH="0" baseline="0" noProof="0" dirty="0">
                  <a:ln>
                    <a:noFill/>
                  </a:ln>
                  <a:solidFill>
                    <a:prstClr val="black"/>
                  </a:solidFill>
                  <a:effectLst/>
                  <a:uLnTx/>
                  <a:uFillTx/>
                  <a:latin typeface="GT America"/>
                  <a:ea typeface="+mn-ea"/>
                  <a:cs typeface="GT America"/>
                </a:rPr>
                <a:t> </a:t>
              </a:r>
              <a:r>
                <a:rPr kumimoji="0" sz="650" b="0" i="0" u="none" strike="noStrike" kern="1200" cap="none" spc="0" normalizeH="0" baseline="0" noProof="0" dirty="0">
                  <a:ln>
                    <a:noFill/>
                  </a:ln>
                  <a:solidFill>
                    <a:prstClr val="black"/>
                  </a:solidFill>
                  <a:effectLst/>
                  <a:uLnTx/>
                  <a:uFillTx/>
                  <a:latin typeface="GT America"/>
                  <a:ea typeface="+mn-ea"/>
                  <a:cs typeface="GT America"/>
                </a:rPr>
                <a:t>9553</a:t>
              </a:r>
              <a:endParaRPr kumimoji="0" sz="650" b="0" i="0" u="none" strike="noStrike" kern="1200" cap="none" spc="0" normalizeH="0" baseline="0" noProof="0">
                <a:ln>
                  <a:noFill/>
                </a:ln>
                <a:solidFill>
                  <a:prstClr val="black"/>
                </a:solidFill>
                <a:effectLst/>
                <a:uLnTx/>
                <a:uFillTx/>
                <a:latin typeface="GT America"/>
                <a:ea typeface="+mn-ea"/>
                <a:cs typeface="GT America"/>
              </a:endParaRPr>
            </a:p>
          </p:txBody>
        </p:sp>
        <p:sp>
          <p:nvSpPr>
            <p:cNvPr id="21" name="object 13"/>
            <p:cNvSpPr txBox="1"/>
            <p:nvPr/>
          </p:nvSpPr>
          <p:spPr>
            <a:xfrm>
              <a:off x="2200379" y="5922731"/>
              <a:ext cx="1975581" cy="112851"/>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650" b="0" i="0" u="none" strike="noStrike" kern="1200" cap="none" spc="-20" normalizeH="0" baseline="0" noProof="0" dirty="0">
                  <a:ln>
                    <a:noFill/>
                  </a:ln>
                  <a:solidFill>
                    <a:prstClr val="black"/>
                  </a:solidFill>
                  <a:effectLst/>
                  <a:uLnTx/>
                  <a:uFillTx/>
                  <a:latin typeface="GT America"/>
                  <a:ea typeface="+mn-ea"/>
                  <a:cs typeface="GT America"/>
                  <a:hlinkClick r:id="rId8"/>
                </a:rPr>
                <a:t>seema.bhardwaj@roedl.com</a:t>
              </a:r>
              <a:r>
                <a:rPr kumimoji="0" sz="650" b="0" i="0" u="none" strike="noStrike" kern="1200" cap="none" spc="100" normalizeH="0" baseline="0" noProof="0" dirty="0">
                  <a:ln>
                    <a:noFill/>
                  </a:ln>
                  <a:solidFill>
                    <a:prstClr val="black"/>
                  </a:solidFill>
                  <a:effectLst/>
                  <a:uLnTx/>
                  <a:uFillTx/>
                  <a:latin typeface="GT America"/>
                  <a:ea typeface="+mn-ea"/>
                  <a:cs typeface="GT America"/>
                </a:rPr>
                <a:t> </a:t>
              </a:r>
              <a:r>
                <a:rPr kumimoji="0" lang="de-DE" sz="650" b="0" i="0" u="none" strike="noStrike" kern="1200" cap="none" spc="100" normalizeH="0" baseline="0" noProof="0" dirty="0">
                  <a:ln>
                    <a:noFill/>
                  </a:ln>
                  <a:solidFill>
                    <a:prstClr val="black"/>
                  </a:solidFill>
                  <a:effectLst/>
                  <a:uLnTx/>
                  <a:uFillTx/>
                  <a:latin typeface="GT America"/>
                  <a:ea typeface="+mn-ea"/>
                  <a:cs typeface="GT America"/>
                </a:rPr>
                <a:t>  </a:t>
              </a:r>
              <a:r>
                <a:rPr kumimoji="0" sz="650" b="0" i="0" u="none" strike="noStrike" kern="1200" cap="none" spc="-20" normalizeH="0" baseline="0" noProof="0" dirty="0">
                  <a:ln>
                    <a:noFill/>
                  </a:ln>
                  <a:solidFill>
                    <a:prstClr val="black"/>
                  </a:solidFill>
                  <a:effectLst/>
                  <a:uLnTx/>
                  <a:uFillTx/>
                  <a:latin typeface="GT America"/>
                  <a:ea typeface="+mn-ea"/>
                  <a:cs typeface="GT America"/>
                  <a:hlinkClick r:id="rId12"/>
                </a:rPr>
                <a:t>rahul.oza@roedl.com</a:t>
              </a:r>
              <a:endParaRPr kumimoji="0" sz="650" b="0" i="0" u="none" strike="noStrike" kern="1200" cap="none" spc="0" normalizeH="0" baseline="0" noProof="0" dirty="0">
                <a:ln>
                  <a:noFill/>
                </a:ln>
                <a:solidFill>
                  <a:prstClr val="black"/>
                </a:solidFill>
                <a:effectLst/>
                <a:uLnTx/>
                <a:uFillTx/>
                <a:latin typeface="GT America"/>
                <a:ea typeface="+mn-ea"/>
                <a:cs typeface="GT America"/>
              </a:endParaRPr>
            </a:p>
          </p:txBody>
        </p:sp>
        <p:sp>
          <p:nvSpPr>
            <p:cNvPr id="22" name="object 14"/>
            <p:cNvSpPr txBox="1"/>
            <p:nvPr/>
          </p:nvSpPr>
          <p:spPr>
            <a:xfrm>
              <a:off x="3267276" y="4687657"/>
              <a:ext cx="908685" cy="629800"/>
            </a:xfrm>
            <a:prstGeom prst="rect">
              <a:avLst/>
            </a:prstGeom>
          </p:spPr>
          <p:txBody>
            <a:bodyPr vert="horz" wrap="square" lIns="0" tIns="13970" rIns="0" bIns="0" rtlCol="0">
              <a:spAutoFit/>
            </a:bodyPr>
            <a:lstStyle/>
            <a:p>
              <a:pPr marL="12700" marR="88900" lvl="0" indent="0" algn="l" defTabSz="914400" rtl="0" eaLnBrk="1" fontAlgn="auto" latinLnBrk="0" hangingPunct="1">
                <a:lnSpc>
                  <a:spcPct val="130400"/>
                </a:lnSpc>
                <a:spcBef>
                  <a:spcPts val="110"/>
                </a:spcBef>
                <a:spcAft>
                  <a:spcPts val="0"/>
                </a:spcAft>
                <a:buClrTx/>
                <a:buSzTx/>
                <a:buFontTx/>
                <a:buNone/>
                <a:tabLst/>
                <a:defRPr/>
              </a:pPr>
              <a:r>
                <a:rPr kumimoji="0" sz="750" b="1" i="0" u="none" strike="noStrike" kern="1200" cap="none" spc="-10" normalizeH="0" baseline="0" noProof="0" dirty="0">
                  <a:ln>
                    <a:noFill/>
                  </a:ln>
                  <a:solidFill>
                    <a:prstClr val="black"/>
                  </a:solidFill>
                  <a:effectLst/>
                  <a:uLnTx/>
                  <a:uFillTx/>
                  <a:latin typeface="GT America Bold"/>
                  <a:ea typeface="+mn-ea"/>
                  <a:cs typeface="GT America Bold"/>
                </a:rPr>
                <a:t>India  </a:t>
              </a:r>
              <a:endParaRPr kumimoji="0" lang="de-DE" sz="750" b="1" i="0" u="none" strike="noStrike" kern="1200" cap="none" spc="-10" normalizeH="0" baseline="0" noProof="0" dirty="0">
                <a:ln>
                  <a:noFill/>
                </a:ln>
                <a:solidFill>
                  <a:prstClr val="black"/>
                </a:solidFill>
                <a:effectLst/>
                <a:uLnTx/>
                <a:uFillTx/>
                <a:latin typeface="GT America Bold"/>
                <a:ea typeface="+mn-ea"/>
                <a:cs typeface="GT America Bold"/>
              </a:endParaRPr>
            </a:p>
            <a:p>
              <a:pPr marL="12700" marR="88900" lvl="0" indent="0" algn="l" defTabSz="914400" rtl="0" eaLnBrk="1" fontAlgn="auto" latinLnBrk="0" hangingPunct="1">
                <a:lnSpc>
                  <a:spcPct val="130400"/>
                </a:lnSpc>
                <a:spcBef>
                  <a:spcPts val="110"/>
                </a:spcBef>
                <a:spcAft>
                  <a:spcPts val="0"/>
                </a:spcAft>
                <a:buClrTx/>
                <a:buSzTx/>
                <a:buFontTx/>
                <a:buNone/>
                <a:tabLst/>
                <a:defRPr/>
              </a:pPr>
              <a:r>
                <a:rPr kumimoji="0" sz="750" b="0" i="0" u="none" strike="noStrike" kern="1200" cap="none" spc="-10" normalizeH="0" baseline="0" noProof="0" dirty="0">
                  <a:ln>
                    <a:noFill/>
                  </a:ln>
                  <a:solidFill>
                    <a:prstClr val="black"/>
                  </a:solidFill>
                  <a:effectLst/>
                  <a:uLnTx/>
                  <a:uFillTx/>
                  <a:latin typeface="GT America"/>
                  <a:ea typeface="+mn-ea"/>
                  <a:cs typeface="GT America"/>
                </a:rPr>
                <a:t>Delhi</a:t>
              </a:r>
              <a:r>
                <a:rPr kumimoji="0" sz="750" b="0" i="0" u="none" strike="noStrike" kern="1200" cap="none" spc="-145" normalizeH="0" baseline="0" noProof="0" dirty="0">
                  <a:ln>
                    <a:noFill/>
                  </a:ln>
                  <a:solidFill>
                    <a:prstClr val="black"/>
                  </a:solidFill>
                  <a:effectLst/>
                  <a:uLnTx/>
                  <a:uFillTx/>
                  <a:latin typeface="GT America"/>
                  <a:ea typeface="+mn-ea"/>
                  <a:cs typeface="GT America"/>
                </a:rPr>
                <a:t> </a:t>
              </a:r>
              <a:r>
                <a:rPr kumimoji="0" sz="750" b="0" i="0" u="none" strike="noStrike" kern="1200" cap="none" spc="0" normalizeH="0" baseline="0" noProof="0" dirty="0">
                  <a:ln>
                    <a:noFill/>
                  </a:ln>
                  <a:solidFill>
                    <a:prstClr val="black"/>
                  </a:solidFill>
                  <a:effectLst/>
                  <a:uLnTx/>
                  <a:uFillTx/>
                  <a:latin typeface="GT America"/>
                  <a:ea typeface="+mn-ea"/>
                  <a:cs typeface="GT America"/>
                </a:rPr>
                <a:t>/</a:t>
              </a:r>
              <a:r>
                <a:rPr kumimoji="0" sz="750" b="0" i="0" u="none" strike="noStrike" kern="1200" cap="none" spc="-145" normalizeH="0" baseline="0" noProof="0" dirty="0">
                  <a:ln>
                    <a:noFill/>
                  </a:ln>
                  <a:solidFill>
                    <a:prstClr val="black"/>
                  </a:solidFill>
                  <a:effectLst/>
                  <a:uLnTx/>
                  <a:uFillTx/>
                  <a:latin typeface="GT America"/>
                  <a:ea typeface="+mn-ea"/>
                  <a:cs typeface="GT America"/>
                </a:rPr>
                <a:t> </a:t>
              </a:r>
              <a:r>
                <a:rPr kumimoji="0" sz="750" b="0" i="0" u="none" strike="noStrike" kern="1200" cap="none" spc="-10" normalizeH="0" baseline="0" noProof="0" dirty="0">
                  <a:ln>
                    <a:noFill/>
                  </a:ln>
                  <a:solidFill>
                    <a:prstClr val="black"/>
                  </a:solidFill>
                  <a:effectLst/>
                  <a:uLnTx/>
                  <a:uFillTx/>
                  <a:latin typeface="GT America"/>
                  <a:ea typeface="+mn-ea"/>
                  <a:cs typeface="GT America"/>
                </a:rPr>
                <a:t>Ahmedabad  </a:t>
              </a:r>
              <a:br>
                <a:rPr kumimoji="0" lang="de-DE" sz="750" b="0" i="0" u="none" strike="noStrike" kern="1200" cap="none" spc="-10" normalizeH="0" baseline="0" noProof="0" dirty="0">
                  <a:ln>
                    <a:noFill/>
                  </a:ln>
                  <a:solidFill>
                    <a:prstClr val="black"/>
                  </a:solidFill>
                  <a:effectLst/>
                  <a:uLnTx/>
                  <a:uFillTx/>
                  <a:latin typeface="GT America"/>
                  <a:ea typeface="+mn-ea"/>
                  <a:cs typeface="GT America"/>
                </a:rPr>
              </a:br>
              <a:r>
                <a:rPr kumimoji="0" sz="650" b="0" i="0" u="none" strike="noStrike" kern="1200" cap="none" spc="0" normalizeH="0" baseline="0" noProof="0" dirty="0">
                  <a:ln>
                    <a:noFill/>
                  </a:ln>
                  <a:solidFill>
                    <a:prstClr val="black"/>
                  </a:solidFill>
                  <a:effectLst/>
                  <a:uLnTx/>
                  <a:uFillTx/>
                  <a:latin typeface="GT America"/>
                  <a:ea typeface="+mn-ea"/>
                  <a:cs typeface="GT America"/>
                </a:rPr>
                <a:t>Neha </a:t>
              </a:r>
              <a:r>
                <a:rPr kumimoji="0" sz="650" b="0" i="0" u="none" strike="noStrike" kern="1200" cap="none" spc="5" normalizeH="0" baseline="0" noProof="0" dirty="0">
                  <a:ln>
                    <a:noFill/>
                  </a:ln>
                  <a:solidFill>
                    <a:prstClr val="black"/>
                  </a:solidFill>
                  <a:effectLst/>
                  <a:uLnTx/>
                  <a:uFillTx/>
                  <a:latin typeface="GT America"/>
                  <a:ea typeface="+mn-ea"/>
                  <a:cs typeface="GT America"/>
                </a:rPr>
                <a:t>Sharma</a:t>
              </a:r>
              <a:endParaRPr kumimoji="0" sz="650" b="0" i="0" u="none" strike="noStrike" kern="1200" cap="none" spc="0" normalizeH="0" baseline="0" noProof="0" dirty="0">
                <a:ln>
                  <a:noFill/>
                </a:ln>
                <a:solidFill>
                  <a:prstClr val="black"/>
                </a:solidFill>
                <a:effectLst/>
                <a:uLnTx/>
                <a:uFillTx/>
                <a:latin typeface="GT America"/>
                <a:ea typeface="+mn-ea"/>
                <a:cs typeface="GT America"/>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650" b="0" i="0" u="none" strike="noStrike" kern="1200" cap="none" spc="0" normalizeH="0" baseline="0" noProof="0" dirty="0">
                  <a:ln>
                    <a:noFill/>
                  </a:ln>
                  <a:solidFill>
                    <a:prstClr val="black"/>
                  </a:solidFill>
                  <a:effectLst/>
                  <a:uLnTx/>
                  <a:uFillTx/>
                  <a:latin typeface="GT America"/>
                  <a:ea typeface="+mn-ea"/>
                  <a:cs typeface="GT America"/>
                </a:rPr>
                <a:t>T </a:t>
              </a:r>
              <a:r>
                <a:rPr kumimoji="0" sz="650" b="0" i="0" u="none" strike="noStrike" kern="1200" cap="none" spc="-5" normalizeH="0" baseline="0" noProof="0" dirty="0">
                  <a:ln>
                    <a:noFill/>
                  </a:ln>
                  <a:solidFill>
                    <a:prstClr val="black"/>
                  </a:solidFill>
                  <a:effectLst/>
                  <a:uLnTx/>
                  <a:uFillTx/>
                  <a:latin typeface="GT America"/>
                  <a:ea typeface="+mn-ea"/>
                  <a:cs typeface="GT America"/>
                </a:rPr>
                <a:t>+91 124 </a:t>
              </a:r>
              <a:r>
                <a:rPr kumimoji="0" sz="650" b="0" i="0" u="none" strike="noStrike" kern="1200" cap="none" spc="-10" normalizeH="0" baseline="0" noProof="0" dirty="0">
                  <a:ln>
                    <a:noFill/>
                  </a:ln>
                  <a:solidFill>
                    <a:prstClr val="black"/>
                  </a:solidFill>
                  <a:effectLst/>
                  <a:uLnTx/>
                  <a:uFillTx/>
                  <a:latin typeface="GT America"/>
                  <a:ea typeface="+mn-ea"/>
                  <a:cs typeface="GT America"/>
                </a:rPr>
                <a:t>6749</a:t>
              </a:r>
              <a:r>
                <a:rPr kumimoji="0" sz="650" b="0" i="0" u="none" strike="noStrike" kern="1200" cap="none" spc="-30" normalizeH="0" baseline="0" noProof="0" dirty="0">
                  <a:ln>
                    <a:noFill/>
                  </a:ln>
                  <a:solidFill>
                    <a:prstClr val="black"/>
                  </a:solidFill>
                  <a:effectLst/>
                  <a:uLnTx/>
                  <a:uFillTx/>
                  <a:latin typeface="GT America"/>
                  <a:ea typeface="+mn-ea"/>
                  <a:cs typeface="GT America"/>
                </a:rPr>
                <a:t> </a:t>
              </a:r>
              <a:r>
                <a:rPr kumimoji="0" sz="650" b="0" i="0" u="none" strike="noStrike" kern="1200" cap="none" spc="-5" normalizeH="0" baseline="0" noProof="0" dirty="0">
                  <a:ln>
                    <a:noFill/>
                  </a:ln>
                  <a:solidFill>
                    <a:prstClr val="black"/>
                  </a:solidFill>
                  <a:effectLst/>
                  <a:uLnTx/>
                  <a:uFillTx/>
                  <a:latin typeface="GT America"/>
                  <a:ea typeface="+mn-ea"/>
                  <a:cs typeface="GT America"/>
                </a:rPr>
                <a:t>701</a:t>
              </a:r>
              <a:endParaRPr kumimoji="0" sz="650" b="0" i="0" u="none" strike="noStrike" kern="1200" cap="none" spc="0" normalizeH="0" baseline="0" noProof="0" dirty="0">
                <a:ln>
                  <a:noFill/>
                </a:ln>
                <a:solidFill>
                  <a:prstClr val="black"/>
                </a:solidFill>
                <a:effectLst/>
                <a:uLnTx/>
                <a:uFillTx/>
                <a:latin typeface="GT America"/>
                <a:ea typeface="+mn-ea"/>
                <a:cs typeface="GT America"/>
              </a:endParaRP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650" b="0" i="0" u="none" strike="noStrike" kern="1200" cap="none" spc="-20" normalizeH="0" baseline="0" noProof="0" dirty="0">
                  <a:ln>
                    <a:noFill/>
                  </a:ln>
                  <a:solidFill>
                    <a:prstClr val="black"/>
                  </a:solidFill>
                  <a:effectLst/>
                  <a:uLnTx/>
                  <a:uFillTx/>
                  <a:latin typeface="GT America"/>
                  <a:ea typeface="+mn-ea"/>
                  <a:cs typeface="GT America"/>
                  <a:hlinkClick r:id="rId13"/>
                </a:rPr>
                <a:t>neha.sharma@roedl.com</a:t>
              </a:r>
              <a:endParaRPr kumimoji="0" sz="650" b="0" i="0" u="none" strike="noStrike" kern="1200" cap="none" spc="0" normalizeH="0" baseline="0" noProof="0" dirty="0">
                <a:ln>
                  <a:noFill/>
                </a:ln>
                <a:solidFill>
                  <a:prstClr val="black"/>
                </a:solidFill>
                <a:effectLst/>
                <a:uLnTx/>
                <a:uFillTx/>
                <a:latin typeface="GT America"/>
                <a:ea typeface="+mn-ea"/>
                <a:cs typeface="GT America"/>
              </a:endParaRPr>
            </a:p>
          </p:txBody>
        </p:sp>
        <p:sp>
          <p:nvSpPr>
            <p:cNvPr id="23" name="object 15"/>
            <p:cNvSpPr txBox="1"/>
            <p:nvPr/>
          </p:nvSpPr>
          <p:spPr>
            <a:xfrm>
              <a:off x="2542567" y="1974517"/>
              <a:ext cx="1631950" cy="948879"/>
            </a:xfrm>
            <a:prstGeom prst="rect">
              <a:avLst/>
            </a:prstGeom>
          </p:spPr>
          <p:txBody>
            <a:bodyPr vert="horz" wrap="square" lIns="0" tIns="91440" rIns="0" bIns="0" rtlCol="0">
              <a:spAutoFit/>
            </a:bodyPr>
            <a:lstStyle/>
            <a:p>
              <a:pPr marL="365760" marR="0" lvl="0" indent="0" algn="l" defTabSz="914400" rtl="0" eaLnBrk="1" fontAlgn="auto" latinLnBrk="0" hangingPunct="1">
                <a:lnSpc>
                  <a:spcPct val="100000"/>
                </a:lnSpc>
                <a:spcBef>
                  <a:spcPts val="720"/>
                </a:spcBef>
                <a:spcAft>
                  <a:spcPts val="0"/>
                </a:spcAft>
                <a:buClrTx/>
                <a:buSzTx/>
                <a:buFontTx/>
                <a:buNone/>
                <a:tabLst/>
                <a:defRPr/>
              </a:pPr>
              <a:r>
                <a:rPr kumimoji="0" sz="1050" b="0" i="0" u="none" strike="noStrike" kern="1200" cap="none" spc="0" normalizeH="0" baseline="0" noProof="0" dirty="0">
                  <a:ln>
                    <a:noFill/>
                  </a:ln>
                  <a:solidFill>
                    <a:srgbClr val="FFFFFF"/>
                  </a:solidFill>
                  <a:effectLst/>
                  <a:uLnTx/>
                  <a:uFillTx/>
                  <a:latin typeface="GT America"/>
                  <a:ea typeface="+mn-ea"/>
                  <a:cs typeface="GT America"/>
                </a:rPr>
                <a:t>Are you</a:t>
              </a:r>
              <a:r>
                <a:rPr kumimoji="0" sz="1050" b="0" i="0" u="none" strike="noStrike" kern="1200" cap="none" spc="-60" normalizeH="0" baseline="0" noProof="0" dirty="0">
                  <a:ln>
                    <a:noFill/>
                  </a:ln>
                  <a:solidFill>
                    <a:srgbClr val="FFFFFF"/>
                  </a:solidFill>
                  <a:effectLst/>
                  <a:uLnTx/>
                  <a:uFillTx/>
                  <a:latin typeface="GT America"/>
                  <a:ea typeface="+mn-ea"/>
                  <a:cs typeface="GT America"/>
                </a:rPr>
                <a:t> </a:t>
              </a:r>
              <a:r>
                <a:rPr kumimoji="0" sz="1050" b="0" i="0" u="none" strike="noStrike" kern="1200" cap="none" spc="0" normalizeH="0" baseline="0" noProof="0" dirty="0">
                  <a:ln>
                    <a:noFill/>
                  </a:ln>
                  <a:solidFill>
                    <a:srgbClr val="FFFFFF"/>
                  </a:solidFill>
                  <a:effectLst/>
                  <a:uLnTx/>
                  <a:uFillTx/>
                  <a:latin typeface="GT America"/>
                  <a:ea typeface="+mn-ea"/>
                  <a:cs typeface="GT America"/>
                </a:rPr>
                <a:t>India-ready?</a:t>
              </a:r>
              <a:endParaRPr kumimoji="0" sz="1050" b="0" i="0" u="none" strike="noStrike" kern="1200" cap="none" spc="0" normalizeH="0" baseline="0" noProof="0" dirty="0">
                <a:ln>
                  <a:noFill/>
                </a:ln>
                <a:solidFill>
                  <a:prstClr val="black"/>
                </a:solidFill>
                <a:effectLst/>
                <a:uLnTx/>
                <a:uFillTx/>
                <a:latin typeface="GT America"/>
                <a:ea typeface="+mn-ea"/>
                <a:cs typeface="GT America"/>
              </a:endParaRPr>
            </a:p>
            <a:p>
              <a:pPr marL="12700" marR="0" lvl="0" indent="0" algn="l" defTabSz="914400" rtl="0" eaLnBrk="1" fontAlgn="auto" latinLnBrk="0" hangingPunct="1">
                <a:lnSpc>
                  <a:spcPct val="100000"/>
                </a:lnSpc>
                <a:spcBef>
                  <a:spcPts val="645"/>
                </a:spcBef>
                <a:spcAft>
                  <a:spcPts val="0"/>
                </a:spcAft>
                <a:buClrTx/>
                <a:buSzTx/>
                <a:buFontTx/>
                <a:buNone/>
                <a:tabLst/>
                <a:defRPr/>
              </a:pPr>
              <a:r>
                <a:rPr kumimoji="0" sz="1100" b="1" i="0" u="none" strike="noStrike" kern="1200" cap="none" spc="10" normalizeH="0" baseline="0" noProof="0" dirty="0">
                  <a:ln>
                    <a:noFill/>
                  </a:ln>
                  <a:solidFill>
                    <a:srgbClr val="FFFFFF"/>
                  </a:solidFill>
                  <a:effectLst/>
                  <a:uLnTx/>
                  <a:uFillTx/>
                  <a:latin typeface="GT America Bold"/>
                  <a:ea typeface="+mn-ea"/>
                  <a:cs typeface="GT America Bold"/>
                </a:rPr>
                <a:t>1:1 </a:t>
              </a:r>
              <a:r>
                <a:rPr kumimoji="0" sz="1050" b="1" i="0" u="none" strike="noStrike" kern="1200" cap="none" spc="15" normalizeH="0" baseline="0" noProof="0" dirty="0">
                  <a:ln>
                    <a:noFill/>
                  </a:ln>
                  <a:solidFill>
                    <a:srgbClr val="FFFFFF"/>
                  </a:solidFill>
                  <a:effectLst/>
                  <a:uLnTx/>
                  <a:uFillTx/>
                  <a:latin typeface="GT America Bold"/>
                  <a:ea typeface="+mn-ea"/>
                  <a:cs typeface="GT America Bold"/>
                </a:rPr>
                <a:t>INDIA FIT</a:t>
              </a:r>
              <a:r>
                <a:rPr kumimoji="0" sz="1050" b="1" i="0" u="none" strike="noStrike" kern="1200" cap="none" spc="25" normalizeH="0" baseline="0" noProof="0" dirty="0">
                  <a:ln>
                    <a:noFill/>
                  </a:ln>
                  <a:solidFill>
                    <a:srgbClr val="FFFFFF"/>
                  </a:solidFill>
                  <a:effectLst/>
                  <a:uLnTx/>
                  <a:uFillTx/>
                  <a:latin typeface="GT America Bold"/>
                  <a:ea typeface="+mn-ea"/>
                  <a:cs typeface="GT America Bold"/>
                </a:rPr>
                <a:t> </a:t>
              </a:r>
              <a:r>
                <a:rPr kumimoji="0" sz="1050" b="1" i="0" u="none" strike="noStrike" kern="1200" cap="none" spc="15" normalizeH="0" baseline="0" noProof="0" dirty="0">
                  <a:ln>
                    <a:noFill/>
                  </a:ln>
                  <a:solidFill>
                    <a:srgbClr val="FFFFFF"/>
                  </a:solidFill>
                  <a:effectLst/>
                  <a:uLnTx/>
                  <a:uFillTx/>
                  <a:latin typeface="GT America Bold"/>
                  <a:ea typeface="+mn-ea"/>
                  <a:cs typeface="GT America Bold"/>
                </a:rPr>
                <a:t>SEMINARS</a:t>
              </a:r>
              <a:endParaRPr kumimoji="0" lang="de-DE" sz="1050" b="0" i="0" u="none" strike="noStrike" kern="1200" cap="none" spc="0" normalizeH="0" baseline="0" noProof="0" dirty="0">
                <a:ln>
                  <a:noFill/>
                </a:ln>
                <a:solidFill>
                  <a:prstClr val="black"/>
                </a:solidFill>
                <a:effectLst/>
                <a:uLnTx/>
                <a:uFillTx/>
                <a:latin typeface="GT America Bold"/>
                <a:ea typeface="+mn-ea"/>
                <a:cs typeface="GT America Bold"/>
              </a:endParaRPr>
            </a:p>
            <a:p>
              <a:pPr marL="0" marR="0" lvl="0" indent="0" algn="r" defTabSz="914400" rtl="0" eaLnBrk="1" fontAlgn="auto" latinLnBrk="0" hangingPunct="1">
                <a:lnSpc>
                  <a:spcPct val="100000"/>
                </a:lnSpc>
                <a:spcBef>
                  <a:spcPts val="645"/>
                </a:spcBef>
                <a:spcAft>
                  <a:spcPts val="0"/>
                </a:spcAft>
                <a:buClrTx/>
                <a:buSzTx/>
                <a:buFontTx/>
                <a:buNone/>
                <a:tabLst/>
                <a:defRPr/>
              </a:pPr>
              <a:r>
                <a:rPr kumimoji="0" sz="1050" b="1" i="0" u="none" strike="noStrike" kern="1200" cap="none" spc="10" normalizeH="0" baseline="0" noProof="0" dirty="0">
                  <a:ln>
                    <a:noFill/>
                  </a:ln>
                  <a:solidFill>
                    <a:srgbClr val="FFFFFF"/>
                  </a:solidFill>
                  <a:effectLst/>
                  <a:uLnTx/>
                  <a:uFillTx/>
                  <a:latin typeface="GT America Bold"/>
                  <a:ea typeface="+mn-ea"/>
                  <a:cs typeface="GT America Bold"/>
                </a:rPr>
                <a:t>IN </a:t>
              </a:r>
              <a:r>
                <a:rPr kumimoji="0" sz="1050" b="1" i="0" u="none" strike="noStrike" kern="1200" cap="none" spc="15" normalizeH="0" baseline="0" noProof="0" dirty="0">
                  <a:ln>
                    <a:noFill/>
                  </a:ln>
                  <a:solidFill>
                    <a:srgbClr val="FFFFFF"/>
                  </a:solidFill>
                  <a:effectLst/>
                  <a:uLnTx/>
                  <a:uFillTx/>
                  <a:latin typeface="GT America Bold"/>
                  <a:ea typeface="+mn-ea"/>
                  <a:cs typeface="GT America Bold"/>
                </a:rPr>
                <a:t>OUR OFFICES</a:t>
              </a:r>
              <a:endParaRPr kumimoji="0" sz="1050" b="0" i="0" u="none" strike="noStrike" kern="1200" cap="none" spc="0" normalizeH="0" baseline="0" noProof="0" dirty="0">
                <a:ln>
                  <a:noFill/>
                </a:ln>
                <a:solidFill>
                  <a:prstClr val="black"/>
                </a:solidFill>
                <a:effectLst/>
                <a:uLnTx/>
                <a:uFillTx/>
                <a:latin typeface="GT America Bold"/>
                <a:ea typeface="+mn-ea"/>
                <a:cs typeface="GT America Bold"/>
              </a:endParaRPr>
            </a:p>
            <a:p>
              <a:pPr marL="586105" marR="0" lvl="0" indent="0" algn="ctr" defTabSz="914400" rtl="0" eaLnBrk="1" fontAlgn="auto" latinLnBrk="0" hangingPunct="1">
                <a:lnSpc>
                  <a:spcPct val="100000"/>
                </a:lnSpc>
                <a:spcBef>
                  <a:spcPts val="690"/>
                </a:spcBef>
                <a:spcAft>
                  <a:spcPts val="0"/>
                </a:spcAft>
                <a:buClrTx/>
                <a:buSzTx/>
                <a:buFontTx/>
                <a:buNone/>
                <a:tabLst/>
                <a:defRPr/>
              </a:pPr>
              <a:r>
                <a:rPr kumimoji="0" sz="1050" b="0" i="0" u="none" strike="noStrike" kern="1200" cap="none" spc="0" normalizeH="0" baseline="0" noProof="0" dirty="0">
                  <a:ln>
                    <a:noFill/>
                  </a:ln>
                  <a:solidFill>
                    <a:srgbClr val="FFFFFF"/>
                  </a:solidFill>
                  <a:effectLst/>
                  <a:uLnTx/>
                  <a:uFillTx/>
                  <a:latin typeface="GT America"/>
                  <a:ea typeface="+mn-ea"/>
                  <a:cs typeface="GT America"/>
                  <a:hlinkClick r:id="rId14"/>
                </a:rPr>
                <a:t>pune@roedl.com</a:t>
              </a:r>
              <a:endParaRPr kumimoji="0" sz="1050" b="0" i="0" u="none" strike="noStrike" kern="1200" cap="none" spc="0" normalizeH="0" baseline="0" noProof="0" dirty="0">
                <a:ln>
                  <a:noFill/>
                </a:ln>
                <a:solidFill>
                  <a:prstClr val="black"/>
                </a:solidFill>
                <a:effectLst/>
                <a:uLnTx/>
                <a:uFillTx/>
                <a:latin typeface="GT America"/>
                <a:ea typeface="+mn-ea"/>
                <a:cs typeface="GT America"/>
              </a:endParaRPr>
            </a:p>
          </p:txBody>
        </p:sp>
        <p:sp>
          <p:nvSpPr>
            <p:cNvPr id="24" name="object 6"/>
            <p:cNvSpPr txBox="1">
              <a:spLocks/>
            </p:cNvSpPr>
            <p:nvPr/>
          </p:nvSpPr>
          <p:spPr>
            <a:xfrm>
              <a:off x="450003" y="1396668"/>
              <a:ext cx="3780154" cy="558800"/>
            </a:xfrm>
            <a:prstGeom prst="rect">
              <a:avLst/>
            </a:prstGeom>
          </p:spPr>
          <p:txBody>
            <a:bodyPr vert="horz" wrap="square" lIns="0" tIns="12700" rIns="0" bIns="0" rtlCol="0" anchor="ctr">
              <a:spAutoFit/>
            </a:bodyPr>
            <a:lst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a:lstStyle>
            <a:p>
              <a:pPr marL="172720" marR="0" lvl="0" indent="0" algn="l" defTabSz="914400" rtl="0" eaLnBrk="1" fontAlgn="auto" latinLnBrk="0" hangingPunct="1">
                <a:lnSpc>
                  <a:spcPct val="100000"/>
                </a:lnSpc>
                <a:spcBef>
                  <a:spcPts val="100"/>
                </a:spcBef>
                <a:spcAft>
                  <a:spcPts val="0"/>
                </a:spcAft>
                <a:buClrTx/>
                <a:buSzTx/>
                <a:buFontTx/>
                <a:buNone/>
                <a:tabLst/>
                <a:defRPr/>
              </a:pPr>
              <a:r>
                <a:rPr kumimoji="0" lang="de-DE" sz="2800" b="0" i="0" u="none" strike="noStrike" kern="1200" cap="all" spc="40" normalizeH="0" baseline="0" noProof="0">
                  <a:ln>
                    <a:noFill/>
                  </a:ln>
                  <a:solidFill>
                    <a:prstClr val="black"/>
                  </a:solidFill>
                  <a:effectLst/>
                  <a:uLnTx/>
                  <a:uFillTx/>
                  <a:latin typeface="Arial" panose="020B0604020202020204" pitchFamily="34" charset="0"/>
                  <a:ea typeface="+mj-ea"/>
                  <a:cs typeface="Arial" panose="020B0604020202020204" pitchFamily="34" charset="0"/>
                  <a:sym typeface="Arial" panose="020B0604020202020204" pitchFamily="34" charset="0"/>
                </a:rPr>
                <a:t>SPOT</a:t>
              </a:r>
              <a:r>
                <a:rPr kumimoji="0" lang="de-DE" sz="2800" b="0" i="0" u="none" strike="noStrike" kern="1200" cap="all" spc="200" normalizeH="0" baseline="0" noProof="0">
                  <a:ln>
                    <a:noFill/>
                  </a:ln>
                  <a:solidFill>
                    <a:prstClr val="black"/>
                  </a:solidFill>
                  <a:effectLst/>
                  <a:uLnTx/>
                  <a:uFillTx/>
                  <a:latin typeface="Arial" panose="020B0604020202020204" pitchFamily="34" charset="0"/>
                  <a:ea typeface="+mj-ea"/>
                  <a:cs typeface="Arial" panose="020B0604020202020204" pitchFamily="34" charset="0"/>
                  <a:sym typeface="Arial" panose="020B0604020202020204" pitchFamily="34" charset="0"/>
                </a:rPr>
                <a:t> </a:t>
              </a:r>
              <a:r>
                <a:rPr kumimoji="0" lang="de-DE" sz="2800" b="0" i="0" u="none" strike="noStrike" kern="1200" cap="all" spc="105" normalizeH="0" baseline="0" noProof="0">
                  <a:ln>
                    <a:noFill/>
                  </a:ln>
                  <a:solidFill>
                    <a:prstClr val="black"/>
                  </a:solidFill>
                  <a:effectLst/>
                  <a:uLnTx/>
                  <a:uFillTx/>
                  <a:latin typeface="Arial" panose="020B0604020202020204" pitchFamily="34" charset="0"/>
                  <a:ea typeface="+mj-ea"/>
                  <a:cs typeface="Arial" panose="020B0604020202020204" pitchFamily="34" charset="0"/>
                  <a:sym typeface="Arial" panose="020B0604020202020204" pitchFamily="34" charset="0"/>
                </a:rPr>
                <a:t>ON</a:t>
              </a:r>
              <a:endParaRPr kumimoji="0" lang="de-DE" sz="2800" b="0" i="0" u="none" strike="noStrike" kern="1200" cap="all" spc="105" normalizeH="0" baseline="0" noProof="0" dirty="0">
                <a:ln>
                  <a:noFill/>
                </a:ln>
                <a:solidFill>
                  <a:prstClr val="black"/>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grpSp>
      <p:pic>
        <p:nvPicPr>
          <p:cNvPr id="29" name="Picture 2" descr="N:\Office_Nuremberg\Team\__CVs_Fotos\Bhardwaj-Seema\Bhardwaj_Seema_RP_2014.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932000" y="1090808"/>
            <a:ext cx="1308463" cy="1692000"/>
          </a:xfrm>
          <a:prstGeom prst="rect">
            <a:avLst/>
          </a:prstGeom>
          <a:noFill/>
          <a:ln>
            <a:solidFill>
              <a:schemeClr val="accent3"/>
            </a:solidFill>
          </a:ln>
          <a:extLst>
            <a:ext uri="{909E8E84-426E-40DD-AFC4-6F175D3DCCD1}">
              <a14:hiddenFill xmlns:a14="http://schemas.microsoft.com/office/drawing/2010/main">
                <a:solidFill>
                  <a:srgbClr val="FFFFFF"/>
                </a:solidFill>
              </a14:hiddenFill>
            </a:ext>
          </a:extLst>
        </p:spPr>
      </p:pic>
    </p:spTree>
    <p:custDataLst>
      <p:tags r:id="rId2"/>
    </p:custDataLst>
    <p:extLst>
      <p:ext uri="{BB962C8B-B14F-4D97-AF65-F5344CB8AC3E}">
        <p14:creationId xmlns:p14="http://schemas.microsoft.com/office/powerpoint/2010/main" val="10567786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A990"/>
        </a:solidFill>
        <a:effectLst/>
      </p:bgPr>
    </p:bg>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6507"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1" name="Inhaltsplatzhalter 3">
            <a:extLst>
              <a:ext uri="{FF2B5EF4-FFF2-40B4-BE49-F238E27FC236}">
                <a16:creationId xmlns:a16="http://schemas.microsoft.com/office/drawing/2014/main" id="{89FFC117-F3AB-DC4B-85F4-8443EAA067B9}"/>
              </a:ext>
            </a:extLst>
          </p:cNvPr>
          <p:cNvSpPr>
            <a:spLocks noGrp="1"/>
          </p:cNvSpPr>
          <p:nvPr/>
        </p:nvSpPr>
        <p:spPr>
          <a:xfrm>
            <a:off x="372000" y="1194860"/>
            <a:ext cx="11448000" cy="5400675"/>
          </a:xfrm>
          <a:prstGeom prst="rect">
            <a:avLst/>
          </a:prstGeom>
        </p:spPr>
        <p:txBody>
          <a:bodyPr vert="horz" lIns="0" tIns="0" rIns="0" bIns="0" rtlCol="0">
            <a:norm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GT America"/>
                <a:ea typeface="+mn-ea"/>
                <a:cs typeface="+mn-cs"/>
              </a:rPr>
              <a:t>Verfass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GT America"/>
              <a:ea typeface="+mn-ea"/>
              <a:cs typeface="+mn-cs"/>
            </a:endParaRPr>
          </a:p>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GT America"/>
                <a:ea typeface="+mn-ea"/>
                <a:cs typeface="+mn-cs"/>
              </a:rPr>
              <a:t>Rödl Rechtsanwaltsgesellschaft</a:t>
            </a:r>
          </a:p>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GT America"/>
                <a:ea typeface="+mn-ea"/>
                <a:cs typeface="+mn-cs"/>
              </a:rPr>
              <a:t>Steuerberatungsgesellschaft mbH</a:t>
            </a:r>
          </a:p>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GT America"/>
                <a:ea typeface="+mn-ea"/>
                <a:cs typeface="+mn-cs"/>
              </a:rPr>
              <a:t>Äußere Sulzbacher Straße 100</a:t>
            </a:r>
          </a:p>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GT America"/>
                <a:ea typeface="+mn-ea"/>
                <a:cs typeface="+mn-cs"/>
              </a:rPr>
              <a:t>904891 Nürnberg</a:t>
            </a:r>
          </a:p>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GT America"/>
                <a:ea typeface="+mn-ea"/>
                <a:cs typeface="+mn-cs"/>
              </a:rPr>
              <a:t>- Im Folgenden kurz „Rödl &amp; Partn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GT Americ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black"/>
                </a:solidFill>
                <a:effectLst/>
                <a:uLnTx/>
                <a:uFillTx/>
                <a:latin typeface="GT America"/>
                <a:ea typeface="+mn-ea"/>
                <a:cs typeface="+mn-cs"/>
              </a:rPr>
              <a:t>Copyright:</a:t>
            </a:r>
          </a:p>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GT America"/>
                <a:ea typeface="+mn-ea"/>
                <a:cs typeface="+mn-cs"/>
              </a:rPr>
              <a:t>Rödl &amp; Partner / Deutschland - Alle Rechte vorbehalten.</a:t>
            </a:r>
          </a:p>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GT America"/>
                <a:ea typeface="+mn-ea"/>
                <a:cs typeface="+mn-cs"/>
              </a:rPr>
              <a:t>Die Wiedergabe, Vervielfältigung, Verbreitung und/oder Bearbeitung sämtlicher Inhalte und Darstellungen des Beitrages sowie jegliche sonstige Nutzung ist nur mit vorheriger schriftlicher Zustimmung von Rödl &amp; Partner gestattet. </a:t>
            </a:r>
          </a:p>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GT America"/>
                <a:ea typeface="+mn-ea"/>
                <a:cs typeface="+mn-cs"/>
              </a:rPr>
              <a:t>Alle Angaben wurden sorgfältig zusammengestellt und ergänzend recherchiert. </a:t>
            </a:r>
            <a:br>
              <a:rPr kumimoji="0" lang="de-DE" sz="1800" b="0" i="0" u="none" strike="noStrike" kern="1200" cap="none" spc="0" normalizeH="0" baseline="0" noProof="0" dirty="0">
                <a:ln>
                  <a:noFill/>
                </a:ln>
                <a:solidFill>
                  <a:prstClr val="black"/>
                </a:solidFill>
                <a:effectLst/>
                <a:uLnTx/>
                <a:uFillTx/>
                <a:latin typeface="GT America"/>
                <a:ea typeface="+mn-ea"/>
                <a:cs typeface="+mn-cs"/>
              </a:rPr>
            </a:br>
            <a:r>
              <a:rPr kumimoji="0" lang="de-DE" sz="1800" b="0" i="0" u="none" strike="noStrike" kern="1200" cap="none" spc="0" normalizeH="0" baseline="0" noProof="0" dirty="0">
                <a:ln>
                  <a:noFill/>
                </a:ln>
                <a:solidFill>
                  <a:prstClr val="black"/>
                </a:solidFill>
                <a:effectLst/>
                <a:uLnTx/>
                <a:uFillTx/>
                <a:latin typeface="GT America"/>
                <a:ea typeface="+mn-ea"/>
                <a:cs typeface="+mn-cs"/>
              </a:rPr>
              <a:t>Es wird - auch seitens der jeweiligen Autoren – keine Gewähr und somit auch keine Haftung für die Richtigkeit, Aktualität und Vollständigkeit der Inhalte und Darstellungen übernommen.</a:t>
            </a:r>
          </a:p>
          <a:p>
            <a:pPr marL="452438"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prstClr val="black"/>
                </a:solidFill>
                <a:effectLst/>
                <a:uLnTx/>
                <a:uFillTx/>
                <a:latin typeface="GT America"/>
                <a:ea typeface="+mn-ea"/>
                <a:cs typeface="+mn-cs"/>
              </a:rPr>
              <a:t>Diese Präsentation ersetzt keine Steuerberatung.</a:t>
            </a:r>
          </a:p>
          <a:p>
            <a:pPr marL="452438"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prstClr val="black"/>
              </a:solidFill>
              <a:effectLst/>
              <a:uLnTx/>
              <a:uFillTx/>
              <a:latin typeface="GT America"/>
              <a:ea typeface="+mn-ea"/>
              <a:cs typeface="+mn-cs"/>
            </a:endParaRPr>
          </a:p>
        </p:txBody>
      </p:sp>
    </p:spTree>
    <p:extLst>
      <p:ext uri="{BB962C8B-B14F-4D97-AF65-F5344CB8AC3E}">
        <p14:creationId xmlns:p14="http://schemas.microsoft.com/office/powerpoint/2010/main" val="42073567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So1Zb795S42HHpHmXAmIC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JGHcNOeiSPC2SZ0XT9iEq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y_vv0AgR5abZwvhAyhhE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s9poOTDSmUewok1jIql0W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s9poOTDSmUewok1jIql0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9poOTDSmUewok1jIql0W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JGHcNOeiSPC2SZ0XT9iE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LqP5YBuRo2ElLdKOGowz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dTcsC44LSlCnijy0ANQ_D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eTmi.dLRQoixX0GHJmsmm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_jqP.RohT3a1sofqxI.b7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yaC1CkUHQ7WFMkPisrOJ.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lKcY2MTwQ5SE0Jv35m1hi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4SJ7KokYQS61NTZbslftt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cClF_OZQrW0EglzWpHy8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yaC1CkUHQ7WFMkPisrOJ.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LqP5YBuRo2ElLdKOGowz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kj0.IVH2Tcmg3oAwbavAq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AUhZ3hKQS6BTNKZ2YlSb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j0.IVH2Tcmg3oAwbavAq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gtf_LRDUR4Kv3OxARF28H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y.DTnLLbnEaPtTtHukR2s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y.DTnLLbnEaPtTtHukR2s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s9poOTDSmUewok1jIql0W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3.xml><?xml version="1.0" encoding="utf-8"?>
<p:tagLst xmlns:a="http://schemas.openxmlformats.org/drawingml/2006/main" xmlns:r="http://schemas.openxmlformats.org/officeDocument/2006/relationships" xmlns:p="http://schemas.openxmlformats.org/presentationml/2006/main">
  <p:tag name="VCT_BODYSTYLE" val="1"/>
  <p:tag name="THINKCELLSHAPEDONOTDELETE" val="pj4PXC7N_7ESEmvE_H48uAA"/>
  <p:tag name="VCTCREATESHAPEHANDLED" val="0"/>
</p:tagLst>
</file>

<file path=ppt/tags/tag1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5.xml><?xml version="1.0" encoding="utf-8"?>
<p:tagLst xmlns:a="http://schemas.openxmlformats.org/drawingml/2006/main" xmlns:r="http://schemas.openxmlformats.org/officeDocument/2006/relationships" xmlns:p="http://schemas.openxmlformats.org/presentationml/2006/main">
  <p:tag name="VCTCREATESHAPEHANDLED" val="0"/>
  <p:tag name="VCT_BODYSTYLE" val="1"/>
</p:tagLst>
</file>

<file path=ppt/tags/tag1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1.xml><?xml version="1.0" encoding="utf-8"?>
<p:tagLst xmlns:a="http://schemas.openxmlformats.org/drawingml/2006/main" xmlns:r="http://schemas.openxmlformats.org/officeDocument/2006/relationships" xmlns:p="http://schemas.openxmlformats.org/presentationml/2006/main">
  <p:tag name="VCTCREATESHAPEHANDLED" val="0"/>
  <p:tag name="VCT_BODYSTYLE" val="1"/>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ASSIGNEDEDITOR" val="#Red"/>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LZ62Tf0QO2IQsH1TNOPh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y.DTnLLbnEaPtTtHukR2s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y.DTnLLbnEaPtTtHukR2s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9poOTDSmUewok1jIql0W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4tH3QynSE616.8aP_U.k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3kvZeKafTYOAFVbcVC9q1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jJxKSx.Trmra1Nl2wcGM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s9poOTDSmUewok1jIql0W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s9poOTDSmUewok1jIql0W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6oAsQpQTmq1L3sglMix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KaHiY5ZSj2vrO1u.4O.P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yYulvrsGSmmdLadk4Sjt7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tCHab6PTdePJlygPwe53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zTGyC81T8KAGXknUve7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JOcYp20TgKHQE17Qj7z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KFNbIo8QxKZc1.QAq4Jy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qegh5BoqSAWQkwRlCulx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chKC2s5QlyIT0pIloVtj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IX2lnPVQLWXW3itohya0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6pX0pSeRR2kH30Ql9FD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vmMGEIHSQ.qLfStQ65BL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6gBPN6CRmOO.nqloFao2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nternehmenspraesentation_EN_ARIAL">
  <a:themeElements>
    <a:clrScheme name="Benutzerdefiniert 5">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0B6EDA5-C948-4C82-B949-9ED6E2F95F67}" vid="{383A8E90-57CE-4FD3-944B-799A92EE0AF7}"/>
    </a:ext>
  </a:extLst>
</a:theme>
</file>

<file path=ppt/theme/theme10.xml><?xml version="1.0" encoding="utf-8"?>
<a:theme xmlns:a="http://schemas.openxmlformats.org/drawingml/2006/main" name="Donau blue ">
  <a:themeElements>
    <a:clrScheme name="Benutzerdefiniert 12">
      <a:dk1>
        <a:sysClr val="windowText" lastClr="000000"/>
      </a:dk1>
      <a:lt1>
        <a:sysClr val="window" lastClr="FFFFFF"/>
      </a:lt1>
      <a:dk2>
        <a:srgbClr val="5A6AA8"/>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0B6EDA5-C948-4C82-B949-9ED6E2F95F67}" vid="{6F0B585B-71C8-4096-B897-AC61F490DEF0}"/>
    </a:ext>
  </a:extLst>
</a:theme>
</file>

<file path=ppt/theme/theme11.xml><?xml version="1.0" encoding="utf-8"?>
<a:theme xmlns:a="http://schemas.openxmlformats.org/drawingml/2006/main" name="Naha Rose Highlightfolien">
  <a:themeElements>
    <a:clrScheme name="Benutzerdefiniert 13">
      <a:dk1>
        <a:sysClr val="windowText" lastClr="000000"/>
      </a:dk1>
      <a:lt1>
        <a:sysClr val="window" lastClr="FFFFFF"/>
      </a:lt1>
      <a:dk2>
        <a:srgbClr val="F29C9C"/>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0B6EDA5-C948-4C82-B949-9ED6E2F95F67}" vid="{28359B1D-BDCC-443C-BAA8-649900A455CE}"/>
    </a:ext>
  </a:extLst>
</a:theme>
</file>

<file path=ppt/theme/theme12.xml><?xml version="1.0" encoding="utf-8"?>
<a:theme xmlns:a="http://schemas.openxmlformats.org/drawingml/2006/main" name="Danakil Yellow Highlightfolien">
  <a:themeElements>
    <a:clrScheme name="Benutzerdefiniert 14">
      <a:dk1>
        <a:sysClr val="windowText" lastClr="000000"/>
      </a:dk1>
      <a:lt1>
        <a:sysClr val="window" lastClr="FFFFFF"/>
      </a:lt1>
      <a:dk2>
        <a:srgbClr val="FFFC0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1"/>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0B6EDA5-C948-4C82-B949-9ED6E2F95F67}" vid="{EE08C4CD-A4BB-4DE6-AC6B-BC272D2D28F1}"/>
    </a:ext>
  </a:extLst>
</a:theme>
</file>

<file path=ppt/theme/theme13.xml><?xml version="1.0" encoding="utf-8"?>
<a:theme xmlns:a="http://schemas.openxmlformats.org/drawingml/2006/main" name="Rödl &amp; Partner (Danakil Yellow)">
  <a:themeElements>
    <a:clrScheme name="Roedl&amp;Partner 2018 (Danakil Yellow)">
      <a:dk1>
        <a:sysClr val="windowText" lastClr="000000"/>
      </a:dk1>
      <a:lt1>
        <a:sysClr val="window" lastClr="FFFFFF"/>
      </a:lt1>
      <a:dk2>
        <a:srgbClr val="FFFC00"/>
      </a:dk2>
      <a:lt2>
        <a:srgbClr val="DEE1E0"/>
      </a:lt2>
      <a:accent1>
        <a:srgbClr val="5479BD"/>
      </a:accent1>
      <a:accent2>
        <a:srgbClr val="FF644B"/>
      </a:accent2>
      <a:accent3>
        <a:srgbClr val="00A990"/>
      </a:accent3>
      <a:accent4>
        <a:srgbClr val="EAA21C"/>
      </a:accent4>
      <a:accent5>
        <a:srgbClr val="5C6962"/>
      </a:accent5>
      <a:accent6>
        <a:srgbClr val="D4E458"/>
      </a:accent6>
      <a:hlink>
        <a:srgbClr val="000000"/>
      </a:hlink>
      <a:folHlink>
        <a:srgbClr val="5C6962"/>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Roedl&amp;Partner Master 16zu9_scr01.potx" id="{3D7B32E2-3737-434C-A317-BAFF4B486B41}" vid="{2828D0DA-1F4A-4C5B-B400-7B667B42FDF3}"/>
    </a:ext>
  </a:extLst>
</a:theme>
</file>

<file path=ppt/theme/theme14.xml><?xml version="1.0" encoding="utf-8"?>
<a:theme xmlns:a="http://schemas.openxmlformats.org/drawingml/2006/main" name="Rödl &amp; Partner (Canyon Red)">
  <a:themeElements>
    <a:clrScheme name="Roedl&amp;Partner 2018 (Canyon Red)">
      <a:dk1>
        <a:sysClr val="windowText" lastClr="000000"/>
      </a:dk1>
      <a:lt1>
        <a:sysClr val="window" lastClr="FFFFFF"/>
      </a:lt1>
      <a:dk2>
        <a:srgbClr val="FF644B"/>
      </a:dk2>
      <a:lt2>
        <a:srgbClr val="DEE1E0"/>
      </a:lt2>
      <a:accent1>
        <a:srgbClr val="5479BD"/>
      </a:accent1>
      <a:accent2>
        <a:srgbClr val="FF644B"/>
      </a:accent2>
      <a:accent3>
        <a:srgbClr val="00A990"/>
      </a:accent3>
      <a:accent4>
        <a:srgbClr val="EAA21C"/>
      </a:accent4>
      <a:accent5>
        <a:srgbClr val="5C6962"/>
      </a:accent5>
      <a:accent6>
        <a:srgbClr val="D4E458"/>
      </a:accent6>
      <a:hlink>
        <a:srgbClr val="000000"/>
      </a:hlink>
      <a:folHlink>
        <a:srgbClr val="5C6962"/>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Roedl&amp;Partner Master 16zu9_scr01.potx" id="{3D7B32E2-3737-434C-A317-BAFF4B486B41}" vid="{2828D0DA-1F4A-4C5B-B400-7B667B42FDF3}"/>
    </a:ext>
  </a:extLst>
</a:theme>
</file>

<file path=ppt/theme/theme15.xml><?xml version="1.0" encoding="utf-8"?>
<a:theme xmlns:a="http://schemas.openxmlformats.org/drawingml/2006/main" name="1_Rödl &amp; Partner (Schwarz Weiß)">
  <a:themeElements>
    <a:clrScheme name="Benutzerdefiniert 3">
      <a:dk1>
        <a:sysClr val="windowText" lastClr="000000"/>
      </a:dk1>
      <a:lt1>
        <a:sysClr val="window" lastClr="FFFFFF"/>
      </a:lt1>
      <a:dk2>
        <a:srgbClr val="50695F"/>
      </a:dk2>
      <a:lt2>
        <a:srgbClr val="DEE1E0"/>
      </a:lt2>
      <a:accent1>
        <a:srgbClr val="5479BD"/>
      </a:accent1>
      <a:accent2>
        <a:srgbClr val="FF644B"/>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esentation1" id="{8C403F1C-832E-4F46-98FF-BD2165763783}" vid="{036409A0-0EEB-4C3E-8491-B39F53391F50}"/>
    </a:ext>
  </a:extLst>
</a:theme>
</file>

<file path=ppt/theme/theme16.xml><?xml version="1.0" encoding="utf-8"?>
<a:theme xmlns:a="http://schemas.openxmlformats.org/drawingml/2006/main" name="Masterfoliensatz_Arial_UK_final_scr01">
  <a:themeElements>
    <a:clrScheme name="Benutzerdefiniert 5">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20190402_Vorwerk.potx" id="{282B645A-E5E6-4B9F-8064-10FAA5072AA1}" vid="{16FD9800-DC80-44CE-87CA-578841894165}"/>
    </a:ext>
  </a:extLst>
</a:theme>
</file>

<file path=ppt/theme/theme17.xml><?xml version="1.0" encoding="utf-8"?>
<a:theme xmlns:a="http://schemas.openxmlformats.org/drawingml/2006/main" name="1_Rödl &amp; Partner Green">
  <a:themeElements>
    <a:clrScheme name="Benutzerdefiniert 5">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57ABF7E4-7D07-4121-9B32-3461AAE98727}"/>
    </a:ext>
  </a:extLst>
</a:theme>
</file>

<file path=ppt/theme/theme18.xml><?xml version="1.0" encoding="utf-8"?>
<a:theme xmlns:a="http://schemas.openxmlformats.org/drawingml/2006/main" name="2_Rödl &amp; Partner Green">
  <a:themeElements>
    <a:clrScheme name="Benutzerdefiniert 5">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0B6EDA5-C948-4C82-B949-9ED6E2F95F67}" vid="{EC60F375-5FDA-477F-A5A4-BD698331097E}"/>
    </a:ext>
  </a:extLst>
</a:theme>
</file>

<file path=ppt/theme/theme19.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Rödl &amp; Partner Green">
  <a:themeElements>
    <a:clrScheme name="Benutzerdefiniert 5">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0B6EDA5-C948-4C82-B949-9ED6E2F95F67}" vid="{EC60F375-5FDA-477F-A5A4-BD698331097E}"/>
    </a:ext>
  </a:extLst>
</a:theme>
</file>

<file path=ppt/theme/theme20.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Daintree green ">
  <a:themeElements>
    <a:clrScheme name="Benutzerdefiniert 8">
      <a:dk1>
        <a:sysClr val="windowText" lastClr="000000"/>
      </a:dk1>
      <a:lt1>
        <a:sysClr val="window" lastClr="FFFFFF"/>
      </a:lt1>
      <a:dk2>
        <a:srgbClr val="00838A"/>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0B6EDA5-C948-4C82-B949-9ED6E2F95F67}" vid="{457455B8-A0DC-4EE8-A250-B12DF0658C8E}"/>
    </a:ext>
  </a:extLst>
</a:theme>
</file>

<file path=ppt/theme/theme4.xml><?xml version="1.0" encoding="utf-8"?>
<a:theme xmlns:a="http://schemas.openxmlformats.org/drawingml/2006/main" name="Highland green ">
  <a:themeElements>
    <a:clrScheme name="Benutzerdefiniert 6">
      <a:dk1>
        <a:sysClr val="windowText" lastClr="000000"/>
      </a:dk1>
      <a:lt1>
        <a:sysClr val="window" lastClr="FFFFFF"/>
      </a:lt1>
      <a:dk2>
        <a:srgbClr val="D4E458"/>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1"/>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0B6EDA5-C948-4C82-B949-9ED6E2F95F67}" vid="{05C00ADF-A030-4BEA-A693-2A3C7FB38305}"/>
    </a:ext>
  </a:extLst>
</a:theme>
</file>

<file path=ppt/theme/theme5.xml><?xml version="1.0" encoding="utf-8"?>
<a:theme xmlns:a="http://schemas.openxmlformats.org/drawingml/2006/main" name="Rödl &amp; Partner (Schwarz Weiß)">
  <a:themeElements>
    <a:clrScheme name="Benutzerdefiniert 3">
      <a:dk1>
        <a:sysClr val="windowText" lastClr="000000"/>
      </a:dk1>
      <a:lt1>
        <a:sysClr val="window" lastClr="FFFFFF"/>
      </a:lt1>
      <a:dk2>
        <a:srgbClr val="50695F"/>
      </a:dk2>
      <a:lt2>
        <a:srgbClr val="DEE1E0"/>
      </a:lt2>
      <a:accent1>
        <a:srgbClr val="5479BD"/>
      </a:accent1>
      <a:accent2>
        <a:srgbClr val="FF644B"/>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0B6EDA5-C948-4C82-B949-9ED6E2F95F67}" vid="{C9615634-1D38-4EDF-BBBF-B5DDCCB2C400}"/>
    </a:ext>
  </a:extLst>
</a:theme>
</file>

<file path=ppt/theme/theme6.xml><?xml version="1.0" encoding="utf-8"?>
<a:theme xmlns:a="http://schemas.openxmlformats.org/drawingml/2006/main" name="Canyon Red">
  <a:themeElements>
    <a:clrScheme name="Benutzerdefiniert 9">
      <a:dk1>
        <a:sysClr val="windowText" lastClr="000000"/>
      </a:dk1>
      <a:lt1>
        <a:sysClr val="window" lastClr="FFFFFF"/>
      </a:lt1>
      <a:dk2>
        <a:srgbClr val="FF644B"/>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0B6EDA5-C948-4C82-B949-9ED6E2F95F67}" vid="{CC880E7C-1B27-4147-B55E-790F064505D8}"/>
    </a:ext>
  </a:extLst>
</a:theme>
</file>

<file path=ppt/theme/theme7.xml><?xml version="1.0" encoding="utf-8"?>
<a:theme xmlns:a="http://schemas.openxmlformats.org/drawingml/2006/main" name="Gobi Orange ">
  <a:themeElements>
    <a:clrScheme name="Benutzerdefiniert 10">
      <a:dk1>
        <a:sysClr val="windowText" lastClr="000000"/>
      </a:dk1>
      <a:lt1>
        <a:sysClr val="window" lastClr="FFFFFF"/>
      </a:lt1>
      <a:dk2>
        <a:srgbClr val="EAA21C"/>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0B6EDA5-C948-4C82-B949-9ED6E2F95F67}" vid="{A8DAC2CD-16AC-4377-9EC7-4D2034757DC9}"/>
    </a:ext>
  </a:extLst>
</a:theme>
</file>

<file path=ppt/theme/theme8.xml><?xml version="1.0" encoding="utf-8"?>
<a:theme xmlns:a="http://schemas.openxmlformats.org/drawingml/2006/main" name="Bajkal blue ">
  <a:themeElements>
    <a:clrScheme name="Benutzerdefiniert 11">
      <a:dk1>
        <a:sysClr val="windowText" lastClr="000000"/>
      </a:dk1>
      <a:lt1>
        <a:sysClr val="window" lastClr="FFFFFF"/>
      </a:lt1>
      <a:dk2>
        <a:srgbClr val="5479BD"/>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0B6EDA5-C948-4C82-B949-9ED6E2F95F67}" vid="{7D566074-49C2-4175-9330-2D10387578A2}"/>
    </a:ext>
  </a:extLst>
</a:theme>
</file>

<file path=ppt/theme/theme9.xml><?xml version="1.0" encoding="utf-8"?>
<a:theme xmlns:a="http://schemas.openxmlformats.org/drawingml/2006/main" name="Dolomite Gray ">
  <a:themeElements>
    <a:clrScheme name="Benutzerdefiniert 15">
      <a:dk1>
        <a:sysClr val="windowText" lastClr="000000"/>
      </a:dk1>
      <a:lt1>
        <a:sysClr val="window" lastClr="FFFFFF"/>
      </a:lt1>
      <a:dk2>
        <a:srgbClr val="50695F"/>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0B6EDA5-C948-4C82-B949-9ED6E2F95F67}" vid="{24EC4035-A82D-43FE-80EC-A95C503D0FE3}"/>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C489AB4302653E4593B45DBE41EC96CE" ma:contentTypeVersion="1" ma:contentTypeDescription="Ein neues Dokument erstellen." ma:contentTypeScope="" ma:versionID="b0a0f30926756bee26d580e28d1dea9f">
  <xsd:schema xmlns:xsd="http://www.w3.org/2001/XMLSchema" xmlns:xs="http://www.w3.org/2001/XMLSchema" xmlns:p="http://schemas.microsoft.com/office/2006/metadata/properties" xmlns:ns1="http://schemas.microsoft.com/sharepoint/v3" targetNamespace="http://schemas.microsoft.com/office/2006/metadata/properties" ma:root="true" ma:fieldsID="527feafd7c2aaee042aea6d2d3f7a934"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FA881E39-6871-4C6C-91E1-0D8962796BB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360B01-2BAD-4FC1-B3A9-4B6263F65724}">
  <ds:schemaRefs>
    <ds:schemaRef ds:uri="http://schemas.microsoft.com/sharepoint/v3/contenttype/forms"/>
  </ds:schemaRefs>
</ds:datastoreItem>
</file>

<file path=customXml/itemProps3.xml><?xml version="1.0" encoding="utf-8"?>
<ds:datastoreItem xmlns:ds="http://schemas.openxmlformats.org/officeDocument/2006/customXml" ds:itemID="{C0641E8B-9332-4123-9A72-80C3994ED2A0}">
  <ds:schemaRefs>
    <ds:schemaRef ds:uri="http://purl.org/dc/terms/"/>
    <ds:schemaRef ds:uri="http://schemas.microsoft.com/office/2006/documentManagement/types"/>
    <ds:schemaRef ds:uri="http://purl.org/dc/dcmitype/"/>
    <ds:schemaRef ds:uri="http://schemas.microsoft.com/office/infopath/2007/PartnerControls"/>
    <ds:schemaRef ds:uri="http://purl.org/dc/elements/1.1/"/>
    <ds:schemaRef ds:uri="http://schemas.microsoft.com/office/2006/metadata/propertie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Unternehmenspraesentation_EN_ARIAL</Template>
  <TotalTime>1</TotalTime>
  <Words>760</Words>
  <Application>Microsoft Macintosh PowerPoint</Application>
  <PresentationFormat>Widescreen</PresentationFormat>
  <Paragraphs>219</Paragraphs>
  <Slides>8</Slides>
  <Notes>8</Notes>
  <HiddenSlides>0</HiddenSlides>
  <MMClips>0</MMClips>
  <ScaleCrop>false</ScaleCrop>
  <HeadingPairs>
    <vt:vector size="8" baseType="variant">
      <vt:variant>
        <vt:lpstr>Fonts Used</vt:lpstr>
      </vt:variant>
      <vt:variant>
        <vt:i4>8</vt:i4>
      </vt:variant>
      <vt:variant>
        <vt:lpstr>Theme</vt:lpstr>
      </vt:variant>
      <vt:variant>
        <vt:i4>18</vt:i4>
      </vt:variant>
      <vt:variant>
        <vt:lpstr>Embedded OLE Servers</vt:lpstr>
      </vt:variant>
      <vt:variant>
        <vt:i4>1</vt:i4>
      </vt:variant>
      <vt:variant>
        <vt:lpstr>Slide Titles</vt:lpstr>
      </vt:variant>
      <vt:variant>
        <vt:i4>8</vt:i4>
      </vt:variant>
    </vt:vector>
  </HeadingPairs>
  <TitlesOfParts>
    <vt:vector size="35" baseType="lpstr">
      <vt:lpstr>SimSun</vt:lpstr>
      <vt:lpstr>Arial</vt:lpstr>
      <vt:lpstr>Calibri</vt:lpstr>
      <vt:lpstr>Frutiger CE 45 Light</vt:lpstr>
      <vt:lpstr>GT America</vt:lpstr>
      <vt:lpstr>GT America Bold</vt:lpstr>
      <vt:lpstr>Lucida Grande</vt:lpstr>
      <vt:lpstr>Wingdings</vt:lpstr>
      <vt:lpstr>Unternehmenspraesentation_EN_ARIAL</vt:lpstr>
      <vt:lpstr>Rödl &amp; Partner Green</vt:lpstr>
      <vt:lpstr>Daintree green </vt:lpstr>
      <vt:lpstr>Highland green </vt:lpstr>
      <vt:lpstr>Rödl &amp; Partner (Schwarz Weiß)</vt:lpstr>
      <vt:lpstr>Canyon Red</vt:lpstr>
      <vt:lpstr>Gobi Orange </vt:lpstr>
      <vt:lpstr>Bajkal blue </vt:lpstr>
      <vt:lpstr>Dolomite Gray </vt:lpstr>
      <vt:lpstr>Donau blue </vt:lpstr>
      <vt:lpstr>Naha Rose Highlightfolien</vt:lpstr>
      <vt:lpstr>Danakil Yellow Highlightfolien</vt:lpstr>
      <vt:lpstr>Rödl &amp; Partner (Danakil Yellow)</vt:lpstr>
      <vt:lpstr>Rödl &amp; Partner (Canyon Red)</vt:lpstr>
      <vt:lpstr>1_Rödl &amp; Partner (Schwarz Weiß)</vt:lpstr>
      <vt:lpstr>Masterfoliensatz_Arial_UK_final_scr01</vt:lpstr>
      <vt:lpstr>1_Rödl &amp; Partner Green</vt:lpstr>
      <vt:lpstr>2_Rödl &amp; Partner Green</vt:lpstr>
      <vt:lpstr>think-cell Folie</vt:lpstr>
      <vt:lpstr>PowerPoint Presentation</vt:lpstr>
      <vt:lpstr>Rödl &amp; Partner in Germany and Switzerland  </vt:lpstr>
      <vt:lpstr>„Ease of Doing Business in India“ Index WorldBank </vt:lpstr>
      <vt:lpstr>CoMMENTS </vt:lpstr>
      <vt:lpstr>Comments </vt:lpstr>
      <vt:lpstr>Corporate Tax  - Tax Rates </vt:lpstr>
      <vt:lpstr> Contact</vt:lpstr>
      <vt:lpstr>PowerPoint Presentation</vt:lpstr>
    </vt:vector>
  </TitlesOfParts>
  <Company>Rödl &amp; Partner</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hardwaj, Seema</dc:creator>
  <cp:lastModifiedBy>Microsoft Office User</cp:lastModifiedBy>
  <cp:revision>116</cp:revision>
  <cp:lastPrinted>2019-10-26T18:25:39Z</cp:lastPrinted>
  <dcterms:created xsi:type="dcterms:W3CDTF">2019-06-24T09:09:22Z</dcterms:created>
  <dcterms:modified xsi:type="dcterms:W3CDTF">2020-02-02T21:18: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89AB4302653E4593B45DBE41EC96CE</vt:lpwstr>
  </property>
</Properties>
</file>